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74"/>
  </p:notesMasterIdLst>
  <p:handoutMasterIdLst>
    <p:handoutMasterId r:id="rId75"/>
  </p:handoutMasterIdLst>
  <p:sldIdLst>
    <p:sldId id="4401" r:id="rId2"/>
    <p:sldId id="4273" r:id="rId3"/>
    <p:sldId id="4496" r:id="rId4"/>
    <p:sldId id="4402" r:id="rId5"/>
    <p:sldId id="4321" r:id="rId6"/>
    <p:sldId id="4739" r:id="rId7"/>
    <p:sldId id="4821" r:id="rId8"/>
    <p:sldId id="4740" r:id="rId9"/>
    <p:sldId id="4777" r:id="rId10"/>
    <p:sldId id="4776" r:id="rId11"/>
    <p:sldId id="4742" r:id="rId12"/>
    <p:sldId id="4507" r:id="rId13"/>
    <p:sldId id="4738" r:id="rId14"/>
    <p:sldId id="4435" r:id="rId15"/>
    <p:sldId id="4778" r:id="rId16"/>
    <p:sldId id="4779" r:id="rId17"/>
    <p:sldId id="4608" r:id="rId18"/>
    <p:sldId id="4743" r:id="rId19"/>
    <p:sldId id="4744" r:id="rId20"/>
    <p:sldId id="4736" r:id="rId21"/>
    <p:sldId id="4781" r:id="rId22"/>
    <p:sldId id="4780" r:id="rId23"/>
    <p:sldId id="4774" r:id="rId24"/>
    <p:sldId id="4519" r:id="rId25"/>
    <p:sldId id="4745" r:id="rId26"/>
    <p:sldId id="4782" r:id="rId27"/>
    <p:sldId id="4764" r:id="rId28"/>
    <p:sldId id="4783" r:id="rId29"/>
    <p:sldId id="4455" r:id="rId30"/>
    <p:sldId id="4785" r:id="rId31"/>
    <p:sldId id="4609" r:id="rId32"/>
    <p:sldId id="4784" r:id="rId33"/>
    <p:sldId id="4322" r:id="rId34"/>
    <p:sldId id="4465" r:id="rId35"/>
    <p:sldId id="4330" r:id="rId36"/>
    <p:sldId id="4786" r:id="rId37"/>
    <p:sldId id="4430" r:id="rId38"/>
    <p:sldId id="4762" r:id="rId39"/>
    <p:sldId id="4332" r:id="rId40"/>
    <p:sldId id="4791" r:id="rId41"/>
    <p:sldId id="4792" r:id="rId42"/>
    <p:sldId id="4793" r:id="rId43"/>
    <p:sldId id="4795" r:id="rId44"/>
    <p:sldId id="4801" r:id="rId45"/>
    <p:sldId id="4794" r:id="rId46"/>
    <p:sldId id="4796" r:id="rId47"/>
    <p:sldId id="4797" r:id="rId48"/>
    <p:sldId id="4798" r:id="rId49"/>
    <p:sldId id="4799" r:id="rId50"/>
    <p:sldId id="4692" r:id="rId51"/>
    <p:sldId id="4805" r:id="rId52"/>
    <p:sldId id="4803" r:id="rId53"/>
    <p:sldId id="4804" r:id="rId54"/>
    <p:sldId id="4802" r:id="rId55"/>
    <p:sldId id="4760" r:id="rId56"/>
    <p:sldId id="4808" r:id="rId57"/>
    <p:sldId id="4809" r:id="rId58"/>
    <p:sldId id="4814" r:id="rId59"/>
    <p:sldId id="4815" r:id="rId60"/>
    <p:sldId id="4816" r:id="rId61"/>
    <p:sldId id="4822" r:id="rId62"/>
    <p:sldId id="4758" r:id="rId63"/>
    <p:sldId id="4817" r:id="rId64"/>
    <p:sldId id="4818" r:id="rId65"/>
    <p:sldId id="4813" r:id="rId66"/>
    <p:sldId id="4819" r:id="rId67"/>
    <p:sldId id="4820" r:id="rId68"/>
    <p:sldId id="4789" r:id="rId69"/>
    <p:sldId id="4790" r:id="rId70"/>
    <p:sldId id="4787" r:id="rId71"/>
    <p:sldId id="4788" r:id="rId72"/>
    <p:sldId id="4404" r:id="rId7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16924"/>
    <a:srgbClr val="EDA13E"/>
    <a:srgbClr val="B41F7A"/>
    <a:srgbClr val="122E45"/>
    <a:srgbClr val="7F1C58"/>
    <a:srgbClr val="083553"/>
    <a:srgbClr val="571D58"/>
    <a:srgbClr val="660066"/>
    <a:srgbClr val="C44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74"/>
    <p:restoredTop sz="94501"/>
  </p:normalViewPr>
  <p:slideViewPr>
    <p:cSldViewPr snapToGrid="0" snapToObjects="1">
      <p:cViewPr varScale="1">
        <p:scale>
          <a:sx n="37" d="100"/>
          <a:sy n="37" d="100"/>
        </p:scale>
        <p:origin x="36" y="664"/>
      </p:cViewPr>
      <p:guideLst/>
    </p:cSldViewPr>
  </p:slideViewPr>
  <p:notesTextViewPr>
    <p:cViewPr>
      <p:scale>
        <a:sx n="1" d="1"/>
        <a:sy n="1" d="1"/>
      </p:scale>
      <p:origin x="0" y="0"/>
    </p:cViewPr>
  </p:notesTextViewPr>
  <p:sorterViewPr>
    <p:cViewPr>
      <p:scale>
        <a:sx n="1" d="1"/>
        <a:sy n="1" d="1"/>
      </p:scale>
      <p:origin x="0" y="0"/>
    </p:cViewPr>
  </p:sorterViewPr>
  <p:notesViewPr>
    <p:cSldViewPr snapToGrid="0" snapToObjects="1">
      <p:cViewPr varScale="1">
        <p:scale>
          <a:sx n="71" d="100"/>
          <a:sy n="71" d="100"/>
        </p:scale>
        <p:origin x="3592" y="18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18C6BFC-6876-4345-21B6-F9401FB7C3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BB8981F-2E3B-82CA-69A2-9DE961C365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4ACEC3-6A0C-5D44-A16F-BE02D84CF8D9}" type="datetimeFigureOut">
              <a:rPr lang="en-US" smtClean="0"/>
              <a:t>11/16/2022</a:t>
            </a:fld>
            <a:endParaRPr lang="en-US"/>
          </a:p>
        </p:txBody>
      </p:sp>
      <p:sp>
        <p:nvSpPr>
          <p:cNvPr id="4" name="Footer Placeholder 3">
            <a:extLst>
              <a:ext uri="{FF2B5EF4-FFF2-40B4-BE49-F238E27FC236}">
                <a16:creationId xmlns:a16="http://schemas.microsoft.com/office/drawing/2014/main" id="{41D98457-16F5-C6E7-18CF-6B073A97B3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4B7BD5-69BD-7726-5BD6-2FA194E336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4CF4F2-2F27-7842-9C8E-754958999F4D}" type="slidenum">
              <a:rPr lang="en-US" smtClean="0"/>
              <a:t>‹#›</a:t>
            </a:fld>
            <a:endParaRPr lang="en-US"/>
          </a:p>
        </p:txBody>
      </p:sp>
    </p:spTree>
    <p:extLst>
      <p:ext uri="{BB962C8B-B14F-4D97-AF65-F5344CB8AC3E}">
        <p14:creationId xmlns:p14="http://schemas.microsoft.com/office/powerpoint/2010/main" val="35278096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16/11/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Κάντε κλικ για να επεξεργαστείτε τα στυλ κύριου κειμένου</a:t>
            </a:r>
          </a:p>
          <a:p>
            <a:pPr lvl="1"/>
            <a:r>
              <a:rPr lang="en-US"/>
              <a:t>Δεύτερο επίπεδο</a:t>
            </a:r>
          </a:p>
          <a:p>
            <a:pPr lvl="2"/>
            <a:r>
              <a:rPr lang="en-US"/>
              <a:t>Τρίτο επίπεδο</a:t>
            </a:r>
          </a:p>
          <a:p>
            <a:pPr lvl="3"/>
            <a:r>
              <a:rPr lang="en-US"/>
              <a:t>Τέταρτο επίπεδο</a:t>
            </a:r>
          </a:p>
          <a:p>
            <a:pPr lvl="4"/>
            <a:r>
              <a:rPr lang="en-US"/>
              <a:t>Πέμπτο επίπεδο</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849874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28</a:t>
            </a:fld>
            <a:endParaRPr lang="en-IE"/>
          </a:p>
        </p:txBody>
      </p:sp>
    </p:spTree>
    <p:extLst>
      <p:ext uri="{BB962C8B-B14F-4D97-AF65-F5344CB8AC3E}">
        <p14:creationId xmlns:p14="http://schemas.microsoft.com/office/powerpoint/2010/main" val="23140356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9409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CA971F-9F71-45AC-B80A-D85269BAA52C}" type="slidenum">
              <a:rPr lang="en-IE" smtClean="0"/>
              <a:t>32</a:t>
            </a:fld>
            <a:endParaRPr lang="en-IE"/>
          </a:p>
        </p:txBody>
      </p:sp>
    </p:spTree>
    <p:extLst>
      <p:ext uri="{BB962C8B-B14F-4D97-AF65-F5344CB8AC3E}">
        <p14:creationId xmlns:p14="http://schemas.microsoft.com/office/powerpoint/2010/main" val="2023446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869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40109232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781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0142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584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5922213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191201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57877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624610" y="135006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667709" y="13914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6747637" y="139636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6789070" y="143779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10144628" y="140261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10191746" y="144404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3283353" y="349690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6405815" y="353475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9806173" y="353475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35746" y="2518118"/>
            <a:ext cx="1249111" cy="1727105"/>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171815" y="2518117"/>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00059" y="2518118"/>
            <a:ext cx="1247742" cy="1727105"/>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00059" y="2518118"/>
            <a:ext cx="1176971" cy="111796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971433" y="2518118"/>
            <a:ext cx="1249111" cy="1727105"/>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18552" y="2518118"/>
            <a:ext cx="1174477" cy="111796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27016" y="2518118"/>
            <a:ext cx="1246373" cy="1727105"/>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462704" y="2518118"/>
            <a:ext cx="1249111" cy="1727105"/>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09822"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662963" y="2518118"/>
            <a:ext cx="1174477" cy="111796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39198" y="11094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319177" y="1965673"/>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4810198" y="2554736"/>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2159412" y="2835131"/>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6846001" y="1357759"/>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3509545" y="1320059"/>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43496" y="3094319"/>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3858271" y="4317215"/>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3462420" y="1164546"/>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5993038" y="2222505"/>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8787554" y="1430803"/>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454247" y="229843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2401046" y="3284147"/>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3594244" y="1709378"/>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72913" y="324322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3938229" y="4463463"/>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4899697" y="2996069"/>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7016400" y="1941598"/>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8876952" y="152943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6054761" y="22855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3510646" y="121171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2" name="Freeform 169">
            <a:extLst>
              <a:ext uri="{FF2B5EF4-FFF2-40B4-BE49-F238E27FC236}">
                <a16:creationId xmlns:a16="http://schemas.microsoft.com/office/drawing/2014/main" id="{DB688DE1-B13B-ED83-A1BE-DD11500EF461}"/>
              </a:ext>
            </a:extLst>
          </p:cNvPr>
          <p:cNvSpPr>
            <a:spLocks noChangeArrowheads="1"/>
          </p:cNvSpPr>
          <p:nvPr userDrawn="1"/>
        </p:nvSpPr>
        <p:spPr bwMode="auto">
          <a:xfrm>
            <a:off x="8890959" y="2733300"/>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3" name="Freeform 174">
            <a:extLst>
              <a:ext uri="{FF2B5EF4-FFF2-40B4-BE49-F238E27FC236}">
                <a16:creationId xmlns:a16="http://schemas.microsoft.com/office/drawing/2014/main" id="{4AD974A8-C65D-B11D-7197-5673CA4002AC}"/>
              </a:ext>
            </a:extLst>
          </p:cNvPr>
          <p:cNvSpPr>
            <a:spLocks noChangeArrowheads="1"/>
          </p:cNvSpPr>
          <p:nvPr userDrawn="1"/>
        </p:nvSpPr>
        <p:spPr bwMode="auto">
          <a:xfrm>
            <a:off x="8615278" y="3861946"/>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4" name="Text Placeholder 17">
            <a:extLst>
              <a:ext uri="{FF2B5EF4-FFF2-40B4-BE49-F238E27FC236}">
                <a16:creationId xmlns:a16="http://schemas.microsoft.com/office/drawing/2014/main" id="{DF4D5362-7136-FC7B-93B7-B2F2A11C57C6}"/>
              </a:ext>
            </a:extLst>
          </p:cNvPr>
          <p:cNvSpPr>
            <a:spLocks noGrp="1"/>
          </p:cNvSpPr>
          <p:nvPr>
            <p:ph type="body" sz="quarter" idx="39" hasCustomPrompt="1"/>
          </p:nvPr>
        </p:nvSpPr>
        <p:spPr>
          <a:xfrm>
            <a:off x="8644695" y="4010853"/>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US" dirty="0"/>
              <a:t>6</a:t>
            </a:r>
          </a:p>
        </p:txBody>
      </p:sp>
      <p:sp>
        <p:nvSpPr>
          <p:cNvPr id="5" name="Text Placeholder 17">
            <a:extLst>
              <a:ext uri="{FF2B5EF4-FFF2-40B4-BE49-F238E27FC236}">
                <a16:creationId xmlns:a16="http://schemas.microsoft.com/office/drawing/2014/main" id="{39D57695-014B-1EE8-51A6-4F954CF311B1}"/>
              </a:ext>
            </a:extLst>
          </p:cNvPr>
          <p:cNvSpPr>
            <a:spLocks noGrp="1"/>
          </p:cNvSpPr>
          <p:nvPr>
            <p:ph type="body" sz="quarter" idx="40" hasCustomPrompt="1"/>
          </p:nvPr>
        </p:nvSpPr>
        <p:spPr>
          <a:xfrm>
            <a:off x="9066461" y="3009494"/>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6" name="Freeform 173">
            <a:extLst>
              <a:ext uri="{FF2B5EF4-FFF2-40B4-BE49-F238E27FC236}">
                <a16:creationId xmlns:a16="http://schemas.microsoft.com/office/drawing/2014/main" id="{8CAA12FB-2297-6208-758E-8DAF604ECB0A}"/>
              </a:ext>
            </a:extLst>
          </p:cNvPr>
          <p:cNvSpPr>
            <a:spLocks noChangeArrowheads="1"/>
          </p:cNvSpPr>
          <p:nvPr userDrawn="1"/>
        </p:nvSpPr>
        <p:spPr bwMode="auto">
          <a:xfrm>
            <a:off x="9990771" y="1184068"/>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7" name="Freeform 176">
            <a:extLst>
              <a:ext uri="{FF2B5EF4-FFF2-40B4-BE49-F238E27FC236}">
                <a16:creationId xmlns:a16="http://schemas.microsoft.com/office/drawing/2014/main" id="{436EED6D-CC8B-DC0A-6D23-D36C89CF8675}"/>
              </a:ext>
            </a:extLst>
          </p:cNvPr>
          <p:cNvSpPr>
            <a:spLocks noChangeArrowheads="1"/>
          </p:cNvSpPr>
          <p:nvPr userDrawn="1"/>
        </p:nvSpPr>
        <p:spPr bwMode="auto">
          <a:xfrm>
            <a:off x="9943646" y="1028555"/>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 name="Text Placeholder 17">
            <a:extLst>
              <a:ext uri="{FF2B5EF4-FFF2-40B4-BE49-F238E27FC236}">
                <a16:creationId xmlns:a16="http://schemas.microsoft.com/office/drawing/2014/main" id="{77E13EBC-C77A-1562-84FF-0EC723ACD9A6}"/>
              </a:ext>
            </a:extLst>
          </p:cNvPr>
          <p:cNvSpPr>
            <a:spLocks noGrp="1"/>
          </p:cNvSpPr>
          <p:nvPr>
            <p:ph type="body" sz="quarter" idx="41" hasCustomPrompt="1"/>
          </p:nvPr>
        </p:nvSpPr>
        <p:spPr>
          <a:xfrm>
            <a:off x="10075470" y="15733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9" name="Text Placeholder 17">
            <a:extLst>
              <a:ext uri="{FF2B5EF4-FFF2-40B4-BE49-F238E27FC236}">
                <a16:creationId xmlns:a16="http://schemas.microsoft.com/office/drawing/2014/main" id="{3218E514-89BB-F72A-4D44-1FEAA44A2973}"/>
              </a:ext>
            </a:extLst>
          </p:cNvPr>
          <p:cNvSpPr>
            <a:spLocks noGrp="1"/>
          </p:cNvSpPr>
          <p:nvPr>
            <p:ph type="body" sz="quarter" idx="42" hasCustomPrompt="1"/>
          </p:nvPr>
        </p:nvSpPr>
        <p:spPr>
          <a:xfrm>
            <a:off x="9991872" y="1075722"/>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6BAE0ABF-E258-15D4-F690-F01280BA86CE}"/>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5634" t="8478" r="38806" b="9640"/>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908220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1" y="0"/>
            <a:ext cx="12191998" cy="175701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4" y="2114549"/>
            <a:ext cx="8137823" cy="3937212"/>
          </a:xfrm>
        </p:spPr>
        <p:txBody>
          <a:bodyPr>
            <a:normAutofit/>
          </a:bodyPr>
          <a:lstStyle>
            <a:lvl1pPr>
              <a:lnSpc>
                <a:spcPts val="2280"/>
              </a:lnSpc>
              <a:spcBef>
                <a:spcPts val="0"/>
              </a:spcBef>
              <a:buNone/>
              <a:defRPr sz="2200" b="0" i="0" spc="0">
                <a:solidFill>
                  <a:srgbClr val="61616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9401174" y="0"/>
            <a:ext cx="2790825" cy="68580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26522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391094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65DC88-D3E6-567E-5F5B-EA9B8C6B035F}"/>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A2A4A94E-E8A2-BA2D-8006-691E7F2E6CC5}"/>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4FDD78B4-1711-6C59-C0BD-43A0306FBD2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141A6271-4A4F-B341-4329-0CCBD6BA92F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D7B8487F-FD8B-AC84-ABFD-9094189476C7}"/>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207D942-EFB5-15D0-57CC-779280770E7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B15E448D-9194-3FEC-6F5E-7CB710191AD4}"/>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57470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Κάντε κλικ για να επεξεργαστείτε το στυλ του κύριου τίτλου</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Κάντε κλικ για να επεξεργαστείτε τα στυλ κύριου κειμένου</a:t>
            </a:r>
          </a:p>
          <a:p>
            <a:pPr lvl="1"/>
            <a:r>
              <a:rPr lang="en-GB"/>
              <a:t>Δεύτερο επίπεδο</a:t>
            </a:r>
          </a:p>
          <a:p>
            <a:pPr lvl="2"/>
            <a:r>
              <a:rPr lang="en-GB"/>
              <a:t>Τρίτο επίπεδο</a:t>
            </a:r>
          </a:p>
          <a:p>
            <a:pPr lvl="3"/>
            <a:r>
              <a:rPr lang="en-GB"/>
              <a:t>Τέταρτο επίπεδο</a:t>
            </a:r>
          </a:p>
          <a:p>
            <a:pPr lvl="4"/>
            <a:r>
              <a:rPr lang="en-GB"/>
              <a:t>Πέμπτο επίπεδο</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16/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 id="2147483876" r:id="rId40"/>
    <p:sldLayoutId id="2147483878" r:id="rId41"/>
    <p:sldLayoutId id="2147483879" r:id="rId4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hyperlink" Target="https://www.youtube.com/watch?v=SEfgCqnMl5E&amp;t=198s" TargetMode="External"/><Relationship Id="rId2" Type="http://schemas.openxmlformats.org/officeDocument/2006/relationships/slideLayout" Target="../slideLayouts/slideLayout20.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hyperlink" Target="https://youtu.be/Cxf_SRCcaGo" TargetMode="External"/><Relationship Id="rId2" Type="http://schemas.openxmlformats.org/officeDocument/2006/relationships/image" Target="../media/image20.png"/><Relationship Id="rId1" Type="http://schemas.openxmlformats.org/officeDocument/2006/relationships/slideLayout" Target="../slideLayouts/slideLayout20.xml"/><Relationship Id="rId4" Type="http://schemas.openxmlformats.org/officeDocument/2006/relationships/hyperlink" Target="https://www.youtube.com/watch?v=Cxf_SRCcaGo"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hyperlink" Target="https://www.youtube.com/watch?v=heRCxqQmrGQ" TargetMode="External"/><Relationship Id="rId2" Type="http://schemas.openxmlformats.org/officeDocument/2006/relationships/image" Target="../media/image21.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22.png"/><Relationship Id="rId5" Type="http://schemas.openxmlformats.org/officeDocument/2006/relationships/image" Target="../media/image18.emf"/><Relationship Id="rId4" Type="http://schemas.openxmlformats.org/officeDocument/2006/relationships/oleObject" Target="../embeddings/oleObject2.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2" Type="http://schemas.openxmlformats.org/officeDocument/2006/relationships/hyperlink" Target="https://f24.com/en/the-importance-of-teamwork-during-an-emergency-or-crisis/" TargetMode="Externa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hyperlink" Target="https://trainingindustry.com/blog/leadership/7-things-the-best-leaders-do-in-times-of-crisis/" TargetMode="External"/><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2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hyperlink" Target="https://www.entrepreneur.com/leadership/10-popular-myths-about-leadership-and-how-to-overcome-them/330198#:~:text=10%20Popular%20Myths%20About%20Leadership%20and%20How%20to,always%20tell%20me%20the%20truth.%20...%20More%20items" TargetMode="External"/><Relationship Id="rId2" Type="http://schemas.openxmlformats.org/officeDocument/2006/relationships/notesSlide" Target="../notesSlides/notesSlide1.xml"/><Relationship Id="rId1" Type="http://schemas.openxmlformats.org/officeDocument/2006/relationships/slideLayout" Target="../slideLayouts/slideLayout19.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hyperlink" Target="https://www.ted.com/playlists?topics%5b%5d=leadership"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7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72.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l-GR" sz="4000" b="1" dirty="0"/>
              <a:t>ΕΝΟΤΗΤΑ</a:t>
            </a:r>
            <a:r>
              <a:rPr lang="en-US" sz="4000" b="1" dirty="0"/>
              <a:t> 4</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1815882"/>
          </a:xfrm>
          <a:prstGeom prst="rect">
            <a:avLst/>
          </a:prstGeom>
          <a:noFill/>
        </p:spPr>
        <p:txBody>
          <a:bodyPr wrap="square">
            <a:spAutoFit/>
          </a:bodyPr>
          <a:lstStyle/>
          <a:p>
            <a:r>
              <a:rPr lang="en-GB" sz="2800" dirty="0">
                <a:solidFill>
                  <a:schemeClr val="bg1"/>
                </a:solidFill>
                <a:highlight>
                  <a:srgbClr val="F16924"/>
                </a:highlight>
              </a:rPr>
              <a:t> </a:t>
            </a:r>
            <a:r>
              <a:rPr lang="el-GR" sz="2800" dirty="0">
                <a:solidFill>
                  <a:schemeClr val="bg1"/>
                </a:solidFill>
                <a:highlight>
                  <a:srgbClr val="F16924"/>
                </a:highlight>
              </a:rPr>
              <a:t>ΠΡΟΓΡΑΜΜΑ ΜΑΘΗΜΑΤΩΝ ΚΑΙ ΠΑΚΕΤΟ ΕΠΑΓΓΕΛΜΑΤΙΚΗΣ ΕΚΠΑΙΔΕΥΣΗΣ ΚΑΙ ΚΑΤΑΡΤΙΣΗΣ ΤΟΥ ΕΡΓΟΥ </a:t>
            </a:r>
            <a:r>
              <a:rPr lang="en-GB" sz="2800" dirty="0">
                <a:solidFill>
                  <a:schemeClr val="bg1"/>
                </a:solidFill>
                <a:highlight>
                  <a:srgbClr val="F16924"/>
                </a:highlight>
              </a:rPr>
              <a:t>SECURE</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760839"/>
            <a:ext cx="5835530" cy="206619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Calibri" panose="020F0502020204030204" pitchFamily="34" charset="0"/>
                <a:ea typeface="Calibri" panose="020F0502020204030204" pitchFamily="34" charset="0"/>
                <a:cs typeface="Calibri" panose="020F0502020204030204" pitchFamily="34" charset="0"/>
              </a:rPr>
              <a:t>Κουλτούρα ηγεσίας, διαχείριση ενδιαφερόμενων μερών και επικοινωνί</a:t>
            </a:r>
            <a:r>
              <a:rPr lang="el-GR" dirty="0">
                <a:latin typeface="Calibri" panose="020F0502020204030204" pitchFamily="34" charset="0"/>
                <a:ea typeface="Calibri" panose="020F0502020204030204" pitchFamily="34" charset="0"/>
                <a:cs typeface="Calibri" panose="020F0502020204030204" pitchFamily="34" charset="0"/>
              </a:rPr>
              <a:t>α</a:t>
            </a:r>
            <a:endParaRPr lang="en-US"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4598894"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288289" y="362318"/>
            <a:ext cx="3354563" cy="2253072"/>
          </a:xfrm>
        </p:spPr>
        <p:txBody>
          <a:bodyPr>
            <a:normAutofit/>
          </a:bodyPr>
          <a:lstStyle/>
          <a:p>
            <a:r>
              <a:rPr lang="en-GB" dirty="0">
                <a:solidFill>
                  <a:schemeClr val="bg1"/>
                </a:solidFill>
              </a:rPr>
              <a:t>7 παρατηρήσεις για την ηγεσία</a:t>
            </a: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4941345" y="650189"/>
            <a:ext cx="6962366" cy="571603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Η ηγεσία δεν είναι διαχείριση</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000" dirty="0">
                <a:solidFill>
                  <a:srgbClr val="595959"/>
                </a:solidFill>
                <a:latin typeface="+mn-lt"/>
                <a:ea typeface="Open Sans Light" panose="020B0306030504020204" pitchFamily="34" charset="0"/>
                <a:cs typeface="Open Sans Light" panose="020B0306030504020204" pitchFamily="34" charset="0"/>
              </a:rPr>
              <a:t>Είναι ένα άθλημα (πλήρους) επαφής (και είστε ήδη στο παιχνίδι!)</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Δεν υπάρχει ενιαίο στυλ</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Είναι πάντα καταστασιακό</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Είναι είτε καλό είτε κακό </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Δεν σταματάς ποτέ να μαθαίνεις</a:t>
            </a:r>
          </a:p>
          <a:p>
            <a:pPr algn="l">
              <a:lnSpc>
                <a:spcPts val="344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344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Μπορείτε να ηγηθείτε υπηρετώντας</a:t>
            </a: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148703" y="520386"/>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405925" y="4678070"/>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4598894" y="1278682"/>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4598894" y="394228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148703" y="2257606"/>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3</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148703" y="48634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
        <p:nvSpPr>
          <p:cNvPr id="4" name="Rectangle 3">
            <a:extLst>
              <a:ext uri="{FF2B5EF4-FFF2-40B4-BE49-F238E27FC236}">
                <a16:creationId xmlns:a16="http://schemas.microsoft.com/office/drawing/2014/main" id="{533F2B48-ECF0-8382-FDCF-E0AFCC41F005}"/>
              </a:ext>
            </a:extLst>
          </p:cNvPr>
          <p:cNvSpPr/>
          <p:nvPr/>
        </p:nvSpPr>
        <p:spPr>
          <a:xfrm>
            <a:off x="601247" y="2294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Text Placeholder 3">
            <a:extLst>
              <a:ext uri="{FF2B5EF4-FFF2-40B4-BE49-F238E27FC236}">
                <a16:creationId xmlns:a16="http://schemas.microsoft.com/office/drawing/2014/main" id="{9806714C-BB73-839A-8799-FEE1F2E796E5}"/>
              </a:ext>
            </a:extLst>
          </p:cNvPr>
          <p:cNvSpPr>
            <a:spLocks noGrp="1"/>
          </p:cNvSpPr>
          <p:nvPr>
            <p:ph type="body" sz="quarter" idx="18"/>
          </p:nvPr>
        </p:nvSpPr>
        <p:spPr>
          <a:xfrm>
            <a:off x="465575" y="2555869"/>
            <a:ext cx="3156125" cy="3867704"/>
          </a:xfrm>
        </p:spPr>
        <p:txBody>
          <a:bodyPr>
            <a:normAutofit/>
          </a:bodyPr>
          <a:lstStyle/>
          <a:p>
            <a:pPr marL="14288" indent="0">
              <a:lnSpc>
                <a:spcPts val="2280"/>
              </a:lnSpc>
              <a:spcBef>
                <a:spcPts val="0"/>
              </a:spcBef>
              <a:buClr>
                <a:srgbClr val="F16924"/>
              </a:buClr>
            </a:pPr>
            <a:r>
              <a:rPr lang="en-US" sz="2000" dirty="0">
                <a:solidFill>
                  <a:schemeClr val="bg1"/>
                </a:solidFill>
              </a:rPr>
              <a:t>Η μετάβαση αυτή δεν είναι εύκολη. Οι υπεύθυνοι θα δοκιμαστούν σε τομείς στους οποίους δεν έχουν αναπτύξει πλήρως τους ηγετικούς τους μύες και η καμπύλη μάθησης θα είναι απότομη.</a:t>
            </a:r>
          </a:p>
          <a:p>
            <a:pPr marL="14288" indent="0">
              <a:lnSpc>
                <a:spcPts val="2280"/>
              </a:lnSpc>
              <a:spcBef>
                <a:spcPts val="0"/>
              </a:spcBef>
              <a:buClr>
                <a:srgbClr val="F16924"/>
              </a:buClr>
            </a:pPr>
            <a:endParaRPr lang="en-US" sz="2200" dirty="0">
              <a:solidFill>
                <a:schemeClr val="bg1"/>
              </a:solidFill>
            </a:endParaRPr>
          </a:p>
        </p:txBody>
      </p:sp>
      <p:grpSp>
        <p:nvGrpSpPr>
          <p:cNvPr id="7" name="Group 6">
            <a:extLst>
              <a:ext uri="{FF2B5EF4-FFF2-40B4-BE49-F238E27FC236}">
                <a16:creationId xmlns:a16="http://schemas.microsoft.com/office/drawing/2014/main" id="{336CFB3C-6FCD-A72D-D2FA-D60CEB116F51}"/>
              </a:ext>
            </a:extLst>
          </p:cNvPr>
          <p:cNvGrpSpPr/>
          <p:nvPr/>
        </p:nvGrpSpPr>
        <p:grpSpPr>
          <a:xfrm>
            <a:off x="4148703" y="1388996"/>
            <a:ext cx="701992" cy="701724"/>
            <a:chOff x="7037107" y="1407878"/>
            <a:chExt cx="701992" cy="701724"/>
          </a:xfrm>
        </p:grpSpPr>
        <p:sp>
          <p:nvSpPr>
            <p:cNvPr id="8" name="Freeform 7">
              <a:extLst>
                <a:ext uri="{FF2B5EF4-FFF2-40B4-BE49-F238E27FC236}">
                  <a16:creationId xmlns:a16="http://schemas.microsoft.com/office/drawing/2014/main" id="{9D6CA364-C202-3B5D-71B7-82EA6D0EBAF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17BCE015-9563-87C3-310C-536B83036B5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11FEC399-84AF-2D0E-C744-01DF2612140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1" name="Group 10">
            <a:extLst>
              <a:ext uri="{FF2B5EF4-FFF2-40B4-BE49-F238E27FC236}">
                <a16:creationId xmlns:a16="http://schemas.microsoft.com/office/drawing/2014/main" id="{901FEC3A-5525-AA98-DA11-A49DDA45847B}"/>
              </a:ext>
            </a:extLst>
          </p:cNvPr>
          <p:cNvGrpSpPr/>
          <p:nvPr/>
        </p:nvGrpSpPr>
        <p:grpSpPr>
          <a:xfrm>
            <a:off x="4148703" y="5732046"/>
            <a:ext cx="701992" cy="701724"/>
            <a:chOff x="7037107" y="1407878"/>
            <a:chExt cx="701992" cy="701724"/>
          </a:xfrm>
        </p:grpSpPr>
        <p:sp>
          <p:nvSpPr>
            <p:cNvPr id="13" name="Freeform 12">
              <a:extLst>
                <a:ext uri="{FF2B5EF4-FFF2-40B4-BE49-F238E27FC236}">
                  <a16:creationId xmlns:a16="http://schemas.microsoft.com/office/drawing/2014/main" id="{C319BC52-E3E8-6D0B-978F-F893998D287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4" name="Freeform 13">
              <a:extLst>
                <a:ext uri="{FF2B5EF4-FFF2-40B4-BE49-F238E27FC236}">
                  <a16:creationId xmlns:a16="http://schemas.microsoft.com/office/drawing/2014/main" id="{DF39A746-9B8D-568A-ACE2-0B2F285A58DF}"/>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5" name="TextBox 14">
              <a:extLst>
                <a:ext uri="{FF2B5EF4-FFF2-40B4-BE49-F238E27FC236}">
                  <a16:creationId xmlns:a16="http://schemas.microsoft.com/office/drawing/2014/main" id="{2AA29CAD-9128-C95A-D8C0-F1D1BFC97B0A}"/>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2" name="Group 21">
            <a:extLst>
              <a:ext uri="{FF2B5EF4-FFF2-40B4-BE49-F238E27FC236}">
                <a16:creationId xmlns:a16="http://schemas.microsoft.com/office/drawing/2014/main" id="{A8F65544-5A70-7570-2207-443B0D319CB7}"/>
              </a:ext>
            </a:extLst>
          </p:cNvPr>
          <p:cNvGrpSpPr/>
          <p:nvPr/>
        </p:nvGrpSpPr>
        <p:grpSpPr>
          <a:xfrm>
            <a:off x="4148703" y="3994826"/>
            <a:ext cx="701992" cy="701724"/>
            <a:chOff x="7037107" y="1407878"/>
            <a:chExt cx="701992" cy="701724"/>
          </a:xfrm>
        </p:grpSpPr>
        <p:sp>
          <p:nvSpPr>
            <p:cNvPr id="24" name="Freeform 23">
              <a:extLst>
                <a:ext uri="{FF2B5EF4-FFF2-40B4-BE49-F238E27FC236}">
                  <a16:creationId xmlns:a16="http://schemas.microsoft.com/office/drawing/2014/main" id="{75D74739-239B-145C-6F92-82F079650EE7}"/>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30F953E1-BA57-4112-9398-8B8B2C11FAE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9" name="TextBox 28">
              <a:extLst>
                <a:ext uri="{FF2B5EF4-FFF2-40B4-BE49-F238E27FC236}">
                  <a16:creationId xmlns:a16="http://schemas.microsoft.com/office/drawing/2014/main" id="{CF6788CF-8709-B043-55FA-4A7C25D43095}"/>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31" name="Group 30">
            <a:extLst>
              <a:ext uri="{FF2B5EF4-FFF2-40B4-BE49-F238E27FC236}">
                <a16:creationId xmlns:a16="http://schemas.microsoft.com/office/drawing/2014/main" id="{A6D2AD01-570E-BAF2-C842-7B9E00A33F6E}"/>
              </a:ext>
            </a:extLst>
          </p:cNvPr>
          <p:cNvGrpSpPr/>
          <p:nvPr/>
        </p:nvGrpSpPr>
        <p:grpSpPr>
          <a:xfrm>
            <a:off x="4148703" y="3126216"/>
            <a:ext cx="701992" cy="701724"/>
            <a:chOff x="7037107" y="1407878"/>
            <a:chExt cx="701992" cy="701724"/>
          </a:xfrm>
        </p:grpSpPr>
        <p:sp>
          <p:nvSpPr>
            <p:cNvPr id="34" name="Freeform 33">
              <a:extLst>
                <a:ext uri="{FF2B5EF4-FFF2-40B4-BE49-F238E27FC236}">
                  <a16:creationId xmlns:a16="http://schemas.microsoft.com/office/drawing/2014/main" id="{C2BDEE85-F86A-78E4-469A-E68409B42F02}"/>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5" name="Freeform 34">
              <a:extLst>
                <a:ext uri="{FF2B5EF4-FFF2-40B4-BE49-F238E27FC236}">
                  <a16:creationId xmlns:a16="http://schemas.microsoft.com/office/drawing/2014/main" id="{BA2E6110-A222-B942-1A9A-1EA1832443F3}"/>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9" name="TextBox 38">
              <a:extLst>
                <a:ext uri="{FF2B5EF4-FFF2-40B4-BE49-F238E27FC236}">
                  <a16:creationId xmlns:a16="http://schemas.microsoft.com/office/drawing/2014/main" id="{C1659BCB-9236-3EC5-A8D5-A1837E4BD286}"/>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4</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cxnSp>
        <p:nvCxnSpPr>
          <p:cNvPr id="41" name="Straight Connector 40">
            <a:extLst>
              <a:ext uri="{FF2B5EF4-FFF2-40B4-BE49-F238E27FC236}">
                <a16:creationId xmlns:a16="http://schemas.microsoft.com/office/drawing/2014/main" id="{180118F6-D00D-5317-8A39-E6A247FD61A1}"/>
              </a:ext>
            </a:extLst>
          </p:cNvPr>
          <p:cNvCxnSpPr>
            <a:cxnSpLocks/>
          </p:cNvCxnSpPr>
          <p:nvPr/>
        </p:nvCxnSpPr>
        <p:spPr>
          <a:xfrm>
            <a:off x="4577326" y="306185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3151E67-936F-B98E-E7C3-8735DB2C6ACA}"/>
              </a:ext>
            </a:extLst>
          </p:cNvPr>
          <p:cNvCxnSpPr>
            <a:cxnSpLocks/>
          </p:cNvCxnSpPr>
          <p:nvPr/>
        </p:nvCxnSpPr>
        <p:spPr>
          <a:xfrm>
            <a:off x="4577326" y="220799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1B51F7-7DD5-3C55-B7F1-03AB6C089E2B}"/>
              </a:ext>
            </a:extLst>
          </p:cNvPr>
          <p:cNvCxnSpPr>
            <a:cxnSpLocks/>
          </p:cNvCxnSpPr>
          <p:nvPr/>
        </p:nvCxnSpPr>
        <p:spPr>
          <a:xfrm>
            <a:off x="4598894" y="4799078"/>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CED64D7-ABCC-D661-1B31-3444CDA5FD0B}"/>
              </a:ext>
            </a:extLst>
          </p:cNvPr>
          <p:cNvCxnSpPr>
            <a:cxnSpLocks/>
          </p:cNvCxnSpPr>
          <p:nvPr/>
        </p:nvCxnSpPr>
        <p:spPr>
          <a:xfrm>
            <a:off x="4577326" y="5658306"/>
            <a:ext cx="761467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47069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14069" y="453878"/>
            <a:ext cx="3288472" cy="1965103"/>
          </a:xfrm>
        </p:spPr>
        <p:txBody>
          <a:bodyPr>
            <a:normAutofit/>
          </a:bodyPr>
          <a:lstStyle/>
          <a:p>
            <a:r>
              <a:rPr lang="en-GB" dirty="0">
                <a:solidFill>
                  <a:schemeClr val="bg1"/>
                </a:solidFill>
              </a:rPr>
              <a:t>Ηγεσία vs. Διαχείριση</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514069" y="2293871"/>
            <a:ext cx="3684497" cy="4370330"/>
          </a:xfrm>
        </p:spPr>
        <p:txBody>
          <a:bodyPr>
            <a:normAutofit/>
          </a:bodyPr>
          <a:lstStyle/>
          <a:p>
            <a:pPr marL="12700" indent="-12700">
              <a:lnSpc>
                <a:spcPts val="2280"/>
              </a:lnSpc>
              <a:spcBef>
                <a:spcPts val="0"/>
              </a:spcBef>
            </a:pPr>
            <a:r>
              <a:rPr lang="en-US" sz="2200" b="1" dirty="0">
                <a:solidFill>
                  <a:schemeClr val="bg1"/>
                </a:solidFill>
              </a:rPr>
              <a:t>Κάποιες ερωτήσεις τίθενται. </a:t>
            </a:r>
          </a:p>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Πρέπει ένας διευθυντής να είναι και ηγέτης; </a:t>
            </a:r>
          </a:p>
          <a:p>
            <a:pPr marL="342900" indent="-342900">
              <a:lnSpc>
                <a:spcPts val="2280"/>
              </a:lnSpc>
              <a:spcBef>
                <a:spcPts val="0"/>
              </a:spcBef>
              <a:buClr>
                <a:srgbClr val="EDA13E"/>
              </a:buClr>
              <a:buFont typeface="Arial" panose="020B0604020202020204" pitchFamily="34" charset="0"/>
              <a:buChar char="•"/>
            </a:pPr>
            <a:r>
              <a:rPr lang="en-US" sz="2200" dirty="0">
                <a:solidFill>
                  <a:schemeClr val="bg1"/>
                </a:solidFill>
              </a:rPr>
              <a:t>Πρέπει ένας ηγέτης να είναι και διευθυντής; </a:t>
            </a:r>
          </a:p>
          <a:p>
            <a:pPr marL="12700" indent="-12700">
              <a:lnSpc>
                <a:spcPts val="2280"/>
              </a:lnSpc>
              <a:spcBef>
                <a:spcPts val="0"/>
              </a:spcBef>
            </a:pPr>
            <a:endParaRPr lang="en-US" sz="2200" dirty="0">
              <a:solidFill>
                <a:schemeClr val="bg1"/>
              </a:solidFill>
            </a:endParaRPr>
          </a:p>
          <a:p>
            <a:pPr marL="12700" indent="-12700">
              <a:lnSpc>
                <a:spcPts val="2280"/>
              </a:lnSpc>
              <a:spcBef>
                <a:spcPts val="0"/>
              </a:spcBef>
            </a:pPr>
            <a:r>
              <a:rPr lang="en-US" sz="2200" dirty="0">
                <a:solidFill>
                  <a:schemeClr val="bg1"/>
                </a:solidFill>
              </a:rPr>
              <a:t>Είναι δυνατόν να είσαι αφεντικό σε μια εταιρεία χωρίς να είσαι ηγέτης. Οι διευθυντές διορίζονται, αλλά οι ηγέτες μπορεί να διοριστούν ή να αναδειχθούν.</a:t>
            </a:r>
          </a:p>
        </p:txBody>
      </p:sp>
      <p:sp>
        <p:nvSpPr>
          <p:cNvPr id="4" name="Rectangle 3">
            <a:extLst>
              <a:ext uri="{FF2B5EF4-FFF2-40B4-BE49-F238E27FC236}">
                <a16:creationId xmlns:a16="http://schemas.microsoft.com/office/drawing/2014/main" id="{D471AC1A-B17C-908B-5B71-30E440AD085B}"/>
              </a:ext>
            </a:extLst>
          </p:cNvPr>
          <p:cNvSpPr/>
          <p:nvPr/>
        </p:nvSpPr>
        <p:spPr>
          <a:xfrm>
            <a:off x="514069" y="18516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9" name="Hexagon 1">
            <a:extLst>
              <a:ext uri="{FF2B5EF4-FFF2-40B4-BE49-F238E27FC236}">
                <a16:creationId xmlns:a16="http://schemas.microsoft.com/office/drawing/2014/main" id="{4EE3691B-00E7-F7DA-5EE1-B613982CB47F}"/>
              </a:ext>
            </a:extLst>
          </p:cNvPr>
          <p:cNvSpPr/>
          <p:nvPr/>
        </p:nvSpPr>
        <p:spPr>
          <a:xfrm>
            <a:off x="4291063" y="453878"/>
            <a:ext cx="1448335" cy="1248564"/>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387510" y="850275"/>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1" name="Hexagon 2">
            <a:extLst>
              <a:ext uri="{FF2B5EF4-FFF2-40B4-BE49-F238E27FC236}">
                <a16:creationId xmlns:a16="http://schemas.microsoft.com/office/drawing/2014/main" id="{9F49E895-6B88-4B58-C880-33AC09C55E05}"/>
              </a:ext>
            </a:extLst>
          </p:cNvPr>
          <p:cNvSpPr/>
          <p:nvPr/>
        </p:nvSpPr>
        <p:spPr>
          <a:xfrm>
            <a:off x="4335887" y="3447222"/>
            <a:ext cx="1448335" cy="1248564"/>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5443584" y="3766704"/>
            <a:ext cx="591631"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217518" y="689242"/>
            <a:ext cx="5460413" cy="57711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Διαχείριση - Η </a:t>
            </a:r>
            <a:r>
              <a:rPr lang="en-GB" sz="1800" dirty="0">
                <a:solidFill>
                  <a:srgbClr val="F16924"/>
                </a:solidFill>
                <a:latin typeface="+mn-lt"/>
                <a:ea typeface="Open Sans Light" panose="020B0306030504020204" pitchFamily="34" charset="0"/>
                <a:cs typeface="Open Sans Light" panose="020B0306030504020204" pitchFamily="34" charset="0"/>
              </a:rPr>
              <a:t>διαχείριση αφορά την αντιμετώπιση της πολυπλοκότητας</a:t>
            </a:r>
            <a:br>
              <a:rPr lang="en-GB" sz="1800" dirty="0">
                <a:solidFill>
                  <a:srgbClr val="F16924"/>
                </a:solidFill>
                <a:latin typeface="+mn-lt"/>
                <a:ea typeface="Open Sans Light" panose="020B0306030504020204" pitchFamily="34" charset="0"/>
                <a:cs typeface="Open Sans Light" panose="020B0306030504020204" pitchFamily="34" charset="0"/>
              </a:rPr>
            </a:br>
            <a:endParaRPr lang="en-GB" sz="6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Οι μάνατζερ εξαρτώνται από την εξουσία που τους δίνει η θέση τους για να κατευθύνουν τους υφισταμένους τους. Οι ηγέτες είναι σε θέση να επηρεάζουν τους οπαδούς τους πέρα από την επίσημη εξουσία τους. Οι μάνατζερ είναι άνθρωποι που κάνουν τα πράγματα σωστά και οι ηγέτες είναι άνθρωποι που κάνουν το σωστό.</a:t>
            </a:r>
          </a:p>
          <a:p>
            <a:pPr algn="l">
              <a:lnSpc>
                <a:spcPct val="100000"/>
              </a:lnSpc>
              <a:spcBef>
                <a:spcPts val="0"/>
              </a:spcBef>
              <a:buClr>
                <a:srgbClr val="F16924"/>
              </a:buClr>
            </a:pPr>
            <a:endParaRPr lang="en-GB" sz="14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1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b="1" dirty="0">
                <a:solidFill>
                  <a:srgbClr val="F16924"/>
                </a:solidFill>
                <a:latin typeface="+mn-lt"/>
                <a:ea typeface="Open Sans Light" panose="020B0306030504020204" pitchFamily="34" charset="0"/>
                <a:cs typeface="Open Sans Light" panose="020B0306030504020204" pitchFamily="34" charset="0"/>
              </a:rPr>
              <a:t>Ηγεσία - </a:t>
            </a:r>
            <a:r>
              <a:rPr lang="en-GB" sz="1800" dirty="0">
                <a:solidFill>
                  <a:srgbClr val="F16924"/>
                </a:solidFill>
                <a:latin typeface="+mn-lt"/>
                <a:ea typeface="Open Sans Light" panose="020B0306030504020204" pitchFamily="34" charset="0"/>
                <a:cs typeface="Open Sans Light" panose="020B0306030504020204" pitchFamily="34" charset="0"/>
              </a:rPr>
              <a:t>Η ηγεσία αφορά την αντιμετώπιση της αλλαγής</a:t>
            </a:r>
          </a:p>
          <a:p>
            <a:pPr algn="l">
              <a:lnSpc>
                <a:spcPct val="100000"/>
              </a:lnSpc>
              <a:spcBef>
                <a:spcPts val="0"/>
              </a:spcBef>
              <a:buClr>
                <a:srgbClr val="F16924"/>
              </a:buClr>
            </a:pPr>
            <a:endParaRPr lang="en-GB" sz="600"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1800" dirty="0">
                <a:solidFill>
                  <a:srgbClr val="595959"/>
                </a:solidFill>
                <a:latin typeface="+mn-lt"/>
                <a:ea typeface="Open Sans Light" panose="020B0306030504020204" pitchFamily="34" charset="0"/>
                <a:cs typeface="Open Sans Light" panose="020B0306030504020204" pitchFamily="34" charset="0"/>
              </a:rPr>
              <a:t>Η ηγεσία και η διαχείριση πρέπει να συμβαδίζουν. Δεν είναι το ίδιο πράγμα. Αλλά είναι αναγκαστικά συνδεδεμένα και συμπληρωματικά. Οποιαδήποτε προσπάθεια διαχωρισμού των δύο είναι πιθανό να προκαλέσει περισσότερα προβλήματα από όσα λύνει. Ένας καλός διευθυντής πρέπει να διαθέτει ηγετικές ικανότητες.</a:t>
            </a:r>
          </a:p>
        </p:txBody>
      </p:sp>
      <p:grpSp>
        <p:nvGrpSpPr>
          <p:cNvPr id="13" name="Graphic 2">
            <a:extLst>
              <a:ext uri="{FF2B5EF4-FFF2-40B4-BE49-F238E27FC236}">
                <a16:creationId xmlns:a16="http://schemas.microsoft.com/office/drawing/2014/main" id="{E961CD0D-4EEE-ABF1-EEAA-DA7EECA3E785}"/>
              </a:ext>
            </a:extLst>
          </p:cNvPr>
          <p:cNvGrpSpPr/>
          <p:nvPr/>
        </p:nvGrpSpPr>
        <p:grpSpPr>
          <a:xfrm>
            <a:off x="4592261" y="618690"/>
            <a:ext cx="885534" cy="895928"/>
            <a:chOff x="7190753" y="5365577"/>
            <a:chExt cx="745522" cy="754273"/>
          </a:xfrm>
          <a:solidFill>
            <a:schemeClr val="bg1"/>
          </a:solidFill>
        </p:grpSpPr>
        <p:sp>
          <p:nvSpPr>
            <p:cNvPr id="14" name="Freeform 13">
              <a:extLst>
                <a:ext uri="{FF2B5EF4-FFF2-40B4-BE49-F238E27FC236}">
                  <a16:creationId xmlns:a16="http://schemas.microsoft.com/office/drawing/2014/main" id="{E590E24C-0692-0C7D-FF46-ED01E8F0385F}"/>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89F2A34-23D6-D026-307C-516AF0018D69}"/>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6" name="Freeform 15">
              <a:extLst>
                <a:ext uri="{FF2B5EF4-FFF2-40B4-BE49-F238E27FC236}">
                  <a16:creationId xmlns:a16="http://schemas.microsoft.com/office/drawing/2014/main" id="{033F752E-18EF-47F2-2856-12E45E8F2E03}"/>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7" name="Freeform 16">
              <a:extLst>
                <a:ext uri="{FF2B5EF4-FFF2-40B4-BE49-F238E27FC236}">
                  <a16:creationId xmlns:a16="http://schemas.microsoft.com/office/drawing/2014/main" id="{D8607BB9-18C3-53B6-36F3-DD2D9E24FFC1}"/>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05E4673A-5E6C-0982-DE18-6B8E69031577}"/>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6FA69C75-1577-5BD5-67CC-05D2E6F41F2D}"/>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90DBBD-6B6A-C144-A894-0C9D0B16E040}"/>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761B9871-8962-3A41-BDBE-B3CC5AE36BC3}"/>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9F6A28D0-8920-1947-063C-85926D44B14E}"/>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28" name="Graphic 3">
            <a:extLst>
              <a:ext uri="{FF2B5EF4-FFF2-40B4-BE49-F238E27FC236}">
                <a16:creationId xmlns:a16="http://schemas.microsoft.com/office/drawing/2014/main" id="{1CC53FC6-C9B0-2E7B-0BAF-115C689F1758}"/>
              </a:ext>
            </a:extLst>
          </p:cNvPr>
          <p:cNvGrpSpPr/>
          <p:nvPr/>
        </p:nvGrpSpPr>
        <p:grpSpPr>
          <a:xfrm>
            <a:off x="4643414" y="3587765"/>
            <a:ext cx="856994" cy="865193"/>
            <a:chOff x="6582714" y="331356"/>
            <a:chExt cx="1146476" cy="1157445"/>
          </a:xfrm>
          <a:solidFill>
            <a:schemeClr val="bg1"/>
          </a:solidFill>
        </p:grpSpPr>
        <p:sp>
          <p:nvSpPr>
            <p:cNvPr id="30" name="Freeform 29">
              <a:extLst>
                <a:ext uri="{FF2B5EF4-FFF2-40B4-BE49-F238E27FC236}">
                  <a16:creationId xmlns:a16="http://schemas.microsoft.com/office/drawing/2014/main" id="{8D40CBDB-4769-85F4-4E69-C030F5432799}"/>
                </a:ext>
              </a:extLst>
            </p:cNvPr>
            <p:cNvSpPr/>
            <p:nvPr/>
          </p:nvSpPr>
          <p:spPr>
            <a:xfrm>
              <a:off x="6582714" y="424610"/>
              <a:ext cx="1146476" cy="1064191"/>
            </a:xfrm>
            <a:custGeom>
              <a:avLst/>
              <a:gdLst>
                <a:gd name="connsiteX0" fmla="*/ 1023052 w 1146476"/>
                <a:gd name="connsiteY0" fmla="*/ 811858 h 1064191"/>
                <a:gd name="connsiteX1" fmla="*/ 1061451 w 1146476"/>
                <a:gd name="connsiteY1" fmla="*/ 724089 h 1064191"/>
                <a:gd name="connsiteX2" fmla="*/ 959969 w 1146476"/>
                <a:gd name="connsiteY2" fmla="*/ 606150 h 1064191"/>
                <a:gd name="connsiteX3" fmla="*/ 959969 w 1146476"/>
                <a:gd name="connsiteY3" fmla="*/ 556781 h 1064191"/>
                <a:gd name="connsiteX4" fmla="*/ 910599 w 1146476"/>
                <a:gd name="connsiteY4" fmla="*/ 507411 h 1064191"/>
                <a:gd name="connsiteX5" fmla="*/ 584209 w 1146476"/>
                <a:gd name="connsiteY5" fmla="*/ 507411 h 1064191"/>
                <a:gd name="connsiteX6" fmla="*/ 584209 w 1146476"/>
                <a:gd name="connsiteY6" fmla="*/ 433356 h 1064191"/>
                <a:gd name="connsiteX7" fmla="*/ 619865 w 1146476"/>
                <a:gd name="connsiteY7" fmla="*/ 433356 h 1064191"/>
                <a:gd name="connsiteX8" fmla="*/ 663750 w 1146476"/>
                <a:gd name="connsiteY8" fmla="*/ 389472 h 1064191"/>
                <a:gd name="connsiteX9" fmla="*/ 663750 w 1146476"/>
                <a:gd name="connsiteY9" fmla="*/ 356559 h 1064191"/>
                <a:gd name="connsiteX10" fmla="*/ 652778 w 1146476"/>
                <a:gd name="connsiteY10" fmla="*/ 326389 h 1064191"/>
                <a:gd name="connsiteX11" fmla="*/ 685692 w 1146476"/>
                <a:gd name="connsiteY11" fmla="*/ 274276 h 1064191"/>
                <a:gd name="connsiteX12" fmla="*/ 729575 w 1146476"/>
                <a:gd name="connsiteY12" fmla="*/ 164566 h 1064191"/>
                <a:gd name="connsiteX13" fmla="*/ 729575 w 1146476"/>
                <a:gd name="connsiteY13" fmla="*/ 150852 h 1064191"/>
                <a:gd name="connsiteX14" fmla="*/ 710377 w 1146476"/>
                <a:gd name="connsiteY14" fmla="*/ 134395 h 1064191"/>
                <a:gd name="connsiteX15" fmla="*/ 693920 w 1146476"/>
                <a:gd name="connsiteY15" fmla="*/ 153595 h 1064191"/>
                <a:gd name="connsiteX16" fmla="*/ 693920 w 1146476"/>
                <a:gd name="connsiteY16" fmla="*/ 164566 h 1064191"/>
                <a:gd name="connsiteX17" fmla="*/ 661006 w 1146476"/>
                <a:gd name="connsiteY17" fmla="*/ 249591 h 1064191"/>
                <a:gd name="connsiteX18" fmla="*/ 622609 w 1146476"/>
                <a:gd name="connsiteY18" fmla="*/ 309932 h 1064191"/>
                <a:gd name="connsiteX19" fmla="*/ 518384 w 1146476"/>
                <a:gd name="connsiteY19" fmla="*/ 309932 h 1064191"/>
                <a:gd name="connsiteX20" fmla="*/ 479984 w 1146476"/>
                <a:gd name="connsiteY20" fmla="*/ 249591 h 1064191"/>
                <a:gd name="connsiteX21" fmla="*/ 444329 w 1146476"/>
                <a:gd name="connsiteY21" fmla="*/ 161823 h 1064191"/>
                <a:gd name="connsiteX22" fmla="*/ 570495 w 1146476"/>
                <a:gd name="connsiteY22" fmla="*/ 35656 h 1064191"/>
                <a:gd name="connsiteX23" fmla="*/ 570495 w 1146476"/>
                <a:gd name="connsiteY23" fmla="*/ 35656 h 1064191"/>
                <a:gd name="connsiteX24" fmla="*/ 669236 w 1146476"/>
                <a:gd name="connsiteY24" fmla="*/ 82283 h 1064191"/>
                <a:gd name="connsiteX25" fmla="*/ 693920 w 1146476"/>
                <a:gd name="connsiteY25" fmla="*/ 85026 h 1064191"/>
                <a:gd name="connsiteX26" fmla="*/ 696664 w 1146476"/>
                <a:gd name="connsiteY26" fmla="*/ 60341 h 1064191"/>
                <a:gd name="connsiteX27" fmla="*/ 570495 w 1146476"/>
                <a:gd name="connsiteY27" fmla="*/ 0 h 1064191"/>
                <a:gd name="connsiteX28" fmla="*/ 570495 w 1146476"/>
                <a:gd name="connsiteY28" fmla="*/ 0 h 1064191"/>
                <a:gd name="connsiteX29" fmla="*/ 411415 w 1146476"/>
                <a:gd name="connsiteY29" fmla="*/ 159080 h 1064191"/>
                <a:gd name="connsiteX30" fmla="*/ 455299 w 1146476"/>
                <a:gd name="connsiteY30" fmla="*/ 268791 h 1064191"/>
                <a:gd name="connsiteX31" fmla="*/ 488212 w 1146476"/>
                <a:gd name="connsiteY31" fmla="*/ 318160 h 1064191"/>
                <a:gd name="connsiteX32" fmla="*/ 477242 w 1146476"/>
                <a:gd name="connsiteY32" fmla="*/ 348331 h 1064191"/>
                <a:gd name="connsiteX33" fmla="*/ 477242 w 1146476"/>
                <a:gd name="connsiteY33" fmla="*/ 381244 h 1064191"/>
                <a:gd name="connsiteX34" fmla="*/ 521126 w 1146476"/>
                <a:gd name="connsiteY34" fmla="*/ 425128 h 1064191"/>
                <a:gd name="connsiteX35" fmla="*/ 556781 w 1146476"/>
                <a:gd name="connsiteY35" fmla="*/ 425128 h 1064191"/>
                <a:gd name="connsiteX36" fmla="*/ 556781 w 1146476"/>
                <a:gd name="connsiteY36" fmla="*/ 499183 h 1064191"/>
                <a:gd name="connsiteX37" fmla="*/ 230393 w 1146476"/>
                <a:gd name="connsiteY37" fmla="*/ 499183 h 1064191"/>
                <a:gd name="connsiteX38" fmla="*/ 181022 w 1146476"/>
                <a:gd name="connsiteY38" fmla="*/ 548552 h 1064191"/>
                <a:gd name="connsiteX39" fmla="*/ 181022 w 1146476"/>
                <a:gd name="connsiteY39" fmla="*/ 597922 h 1064191"/>
                <a:gd name="connsiteX40" fmla="*/ 79541 w 1146476"/>
                <a:gd name="connsiteY40" fmla="*/ 715861 h 1064191"/>
                <a:gd name="connsiteX41" fmla="*/ 117939 w 1146476"/>
                <a:gd name="connsiteY41" fmla="*/ 803629 h 1064191"/>
                <a:gd name="connsiteX42" fmla="*/ 68569 w 1146476"/>
                <a:gd name="connsiteY42" fmla="*/ 822829 h 1064191"/>
                <a:gd name="connsiteX43" fmla="*/ 63083 w 1146476"/>
                <a:gd name="connsiteY43" fmla="*/ 847513 h 1064191"/>
                <a:gd name="connsiteX44" fmla="*/ 87769 w 1146476"/>
                <a:gd name="connsiteY44" fmla="*/ 852999 h 1064191"/>
                <a:gd name="connsiteX45" fmla="*/ 153594 w 1146476"/>
                <a:gd name="connsiteY45" fmla="*/ 833800 h 1064191"/>
                <a:gd name="connsiteX46" fmla="*/ 249591 w 1146476"/>
                <a:gd name="connsiteY46" fmla="*/ 833800 h 1064191"/>
                <a:gd name="connsiteX47" fmla="*/ 373016 w 1146476"/>
                <a:gd name="connsiteY47" fmla="*/ 957224 h 1064191"/>
                <a:gd name="connsiteX48" fmla="*/ 373016 w 1146476"/>
                <a:gd name="connsiteY48" fmla="*/ 1012079 h 1064191"/>
                <a:gd name="connsiteX49" fmla="*/ 359302 w 1146476"/>
                <a:gd name="connsiteY49" fmla="*/ 1025793 h 1064191"/>
                <a:gd name="connsiteX50" fmla="*/ 323646 w 1146476"/>
                <a:gd name="connsiteY50" fmla="*/ 1025793 h 1064191"/>
                <a:gd name="connsiteX51" fmla="*/ 323646 w 1146476"/>
                <a:gd name="connsiteY51" fmla="*/ 973681 h 1064191"/>
                <a:gd name="connsiteX52" fmla="*/ 307190 w 1146476"/>
                <a:gd name="connsiteY52" fmla="*/ 957224 h 1064191"/>
                <a:gd name="connsiteX53" fmla="*/ 290733 w 1146476"/>
                <a:gd name="connsiteY53" fmla="*/ 973681 h 1064191"/>
                <a:gd name="connsiteX54" fmla="*/ 290733 w 1146476"/>
                <a:gd name="connsiteY54" fmla="*/ 1025793 h 1064191"/>
                <a:gd name="connsiteX55" fmla="*/ 117939 w 1146476"/>
                <a:gd name="connsiteY55" fmla="*/ 1025793 h 1064191"/>
                <a:gd name="connsiteX56" fmla="*/ 117939 w 1146476"/>
                <a:gd name="connsiteY56" fmla="*/ 973681 h 1064191"/>
                <a:gd name="connsiteX57" fmla="*/ 101483 w 1146476"/>
                <a:gd name="connsiteY57" fmla="*/ 957224 h 1064191"/>
                <a:gd name="connsiteX58" fmla="*/ 85025 w 1146476"/>
                <a:gd name="connsiteY58" fmla="*/ 973681 h 1064191"/>
                <a:gd name="connsiteX59" fmla="*/ 85025 w 1146476"/>
                <a:gd name="connsiteY59" fmla="*/ 1025793 h 1064191"/>
                <a:gd name="connsiteX60" fmla="*/ 49369 w 1146476"/>
                <a:gd name="connsiteY60" fmla="*/ 1025793 h 1064191"/>
                <a:gd name="connsiteX61" fmla="*/ 35656 w 1146476"/>
                <a:gd name="connsiteY61" fmla="*/ 1012079 h 1064191"/>
                <a:gd name="connsiteX62" fmla="*/ 35656 w 1146476"/>
                <a:gd name="connsiteY62" fmla="*/ 957224 h 1064191"/>
                <a:gd name="connsiteX63" fmla="*/ 46627 w 1146476"/>
                <a:gd name="connsiteY63" fmla="*/ 905112 h 1064191"/>
                <a:gd name="connsiteX64" fmla="*/ 38399 w 1146476"/>
                <a:gd name="connsiteY64" fmla="*/ 883169 h 1064191"/>
                <a:gd name="connsiteX65" fmla="*/ 16456 w 1146476"/>
                <a:gd name="connsiteY65" fmla="*/ 891398 h 1064191"/>
                <a:gd name="connsiteX66" fmla="*/ 0 w 1146476"/>
                <a:gd name="connsiteY66" fmla="*/ 959967 h 1064191"/>
                <a:gd name="connsiteX67" fmla="*/ 0 w 1146476"/>
                <a:gd name="connsiteY67" fmla="*/ 1014822 h 1064191"/>
                <a:gd name="connsiteX68" fmla="*/ 49369 w 1146476"/>
                <a:gd name="connsiteY68" fmla="*/ 1064192 h 1064191"/>
                <a:gd name="connsiteX69" fmla="*/ 362046 w 1146476"/>
                <a:gd name="connsiteY69" fmla="*/ 1064192 h 1064191"/>
                <a:gd name="connsiteX70" fmla="*/ 394959 w 1146476"/>
                <a:gd name="connsiteY70" fmla="*/ 1053221 h 1064191"/>
                <a:gd name="connsiteX71" fmla="*/ 427871 w 1146476"/>
                <a:gd name="connsiteY71" fmla="*/ 1064192 h 1064191"/>
                <a:gd name="connsiteX72" fmla="*/ 713120 w 1146476"/>
                <a:gd name="connsiteY72" fmla="*/ 1064192 h 1064191"/>
                <a:gd name="connsiteX73" fmla="*/ 751519 w 1146476"/>
                <a:gd name="connsiteY73" fmla="*/ 1050478 h 1064191"/>
                <a:gd name="connsiteX74" fmla="*/ 787175 w 1146476"/>
                <a:gd name="connsiteY74" fmla="*/ 1064192 h 1064191"/>
                <a:gd name="connsiteX75" fmla="*/ 1097107 w 1146476"/>
                <a:gd name="connsiteY75" fmla="*/ 1064192 h 1064191"/>
                <a:gd name="connsiteX76" fmla="*/ 1146476 w 1146476"/>
                <a:gd name="connsiteY76" fmla="*/ 1014822 h 1064191"/>
                <a:gd name="connsiteX77" fmla="*/ 1146476 w 1146476"/>
                <a:gd name="connsiteY77" fmla="*/ 959967 h 1064191"/>
                <a:gd name="connsiteX78" fmla="*/ 1023052 w 1146476"/>
                <a:gd name="connsiteY78" fmla="*/ 811858 h 1064191"/>
                <a:gd name="connsiteX79" fmla="*/ 1023052 w 1146476"/>
                <a:gd name="connsiteY79" fmla="*/ 811858 h 1064191"/>
                <a:gd name="connsiteX80" fmla="*/ 943513 w 1146476"/>
                <a:gd name="connsiteY80" fmla="*/ 641806 h 1064191"/>
                <a:gd name="connsiteX81" fmla="*/ 946255 w 1146476"/>
                <a:gd name="connsiteY81" fmla="*/ 641806 h 1064191"/>
                <a:gd name="connsiteX82" fmla="*/ 1028538 w 1146476"/>
                <a:gd name="connsiteY82" fmla="*/ 726832 h 1064191"/>
                <a:gd name="connsiteX83" fmla="*/ 959969 w 1146476"/>
                <a:gd name="connsiteY83" fmla="*/ 809115 h 1064191"/>
                <a:gd name="connsiteX84" fmla="*/ 927055 w 1146476"/>
                <a:gd name="connsiteY84" fmla="*/ 809115 h 1064191"/>
                <a:gd name="connsiteX85" fmla="*/ 858486 w 1146476"/>
                <a:gd name="connsiteY85" fmla="*/ 726832 h 1064191"/>
                <a:gd name="connsiteX86" fmla="*/ 940769 w 1146476"/>
                <a:gd name="connsiteY86" fmla="*/ 641806 h 1064191"/>
                <a:gd name="connsiteX87" fmla="*/ 943513 w 1146476"/>
                <a:gd name="connsiteY87" fmla="*/ 641806 h 1064191"/>
                <a:gd name="connsiteX88" fmla="*/ 943513 w 1146476"/>
                <a:gd name="connsiteY88" fmla="*/ 641806 h 1064191"/>
                <a:gd name="connsiteX89" fmla="*/ 512898 w 1146476"/>
                <a:gd name="connsiteY89" fmla="*/ 400443 h 1064191"/>
                <a:gd name="connsiteX90" fmla="*/ 504670 w 1146476"/>
                <a:gd name="connsiteY90" fmla="*/ 392215 h 1064191"/>
                <a:gd name="connsiteX91" fmla="*/ 504670 w 1146476"/>
                <a:gd name="connsiteY91" fmla="*/ 359302 h 1064191"/>
                <a:gd name="connsiteX92" fmla="*/ 512898 w 1146476"/>
                <a:gd name="connsiteY92" fmla="*/ 351073 h 1064191"/>
                <a:gd name="connsiteX93" fmla="*/ 617123 w 1146476"/>
                <a:gd name="connsiteY93" fmla="*/ 351073 h 1064191"/>
                <a:gd name="connsiteX94" fmla="*/ 625351 w 1146476"/>
                <a:gd name="connsiteY94" fmla="*/ 359302 h 1064191"/>
                <a:gd name="connsiteX95" fmla="*/ 625351 w 1146476"/>
                <a:gd name="connsiteY95" fmla="*/ 392215 h 1064191"/>
                <a:gd name="connsiteX96" fmla="*/ 617123 w 1146476"/>
                <a:gd name="connsiteY96" fmla="*/ 400443 h 1064191"/>
                <a:gd name="connsiteX97" fmla="*/ 512898 w 1146476"/>
                <a:gd name="connsiteY97" fmla="*/ 400443 h 1064191"/>
                <a:gd name="connsiteX98" fmla="*/ 512898 w 1146476"/>
                <a:gd name="connsiteY98" fmla="*/ 400443 h 1064191"/>
                <a:gd name="connsiteX99" fmla="*/ 565009 w 1146476"/>
                <a:gd name="connsiteY99" fmla="*/ 639063 h 1064191"/>
                <a:gd name="connsiteX100" fmla="*/ 650036 w 1146476"/>
                <a:gd name="connsiteY100" fmla="*/ 724089 h 1064191"/>
                <a:gd name="connsiteX101" fmla="*/ 581467 w 1146476"/>
                <a:gd name="connsiteY101" fmla="*/ 806372 h 1064191"/>
                <a:gd name="connsiteX102" fmla="*/ 548553 w 1146476"/>
                <a:gd name="connsiteY102" fmla="*/ 806372 h 1064191"/>
                <a:gd name="connsiteX103" fmla="*/ 479984 w 1146476"/>
                <a:gd name="connsiteY103" fmla="*/ 724089 h 1064191"/>
                <a:gd name="connsiteX104" fmla="*/ 565009 w 1146476"/>
                <a:gd name="connsiteY104" fmla="*/ 639063 h 1064191"/>
                <a:gd name="connsiteX105" fmla="*/ 565009 w 1146476"/>
                <a:gd name="connsiteY105" fmla="*/ 639063 h 1064191"/>
                <a:gd name="connsiteX106" fmla="*/ 205708 w 1146476"/>
                <a:gd name="connsiteY106" fmla="*/ 809115 h 1064191"/>
                <a:gd name="connsiteX107" fmla="*/ 172794 w 1146476"/>
                <a:gd name="connsiteY107" fmla="*/ 809115 h 1064191"/>
                <a:gd name="connsiteX108" fmla="*/ 104225 w 1146476"/>
                <a:gd name="connsiteY108" fmla="*/ 726832 h 1064191"/>
                <a:gd name="connsiteX109" fmla="*/ 189252 w 1146476"/>
                <a:gd name="connsiteY109" fmla="*/ 641806 h 1064191"/>
                <a:gd name="connsiteX110" fmla="*/ 274277 w 1146476"/>
                <a:gd name="connsiteY110" fmla="*/ 726832 h 1064191"/>
                <a:gd name="connsiteX111" fmla="*/ 205708 w 1146476"/>
                <a:gd name="connsiteY111" fmla="*/ 809115 h 1064191"/>
                <a:gd name="connsiteX112" fmla="*/ 205708 w 1146476"/>
                <a:gd name="connsiteY112" fmla="*/ 809115 h 1064191"/>
                <a:gd name="connsiteX113" fmla="*/ 271535 w 1146476"/>
                <a:gd name="connsiteY113" fmla="*/ 811858 h 1064191"/>
                <a:gd name="connsiteX114" fmla="*/ 309932 w 1146476"/>
                <a:gd name="connsiteY114" fmla="*/ 724089 h 1064191"/>
                <a:gd name="connsiteX115" fmla="*/ 208450 w 1146476"/>
                <a:gd name="connsiteY115" fmla="*/ 606150 h 1064191"/>
                <a:gd name="connsiteX116" fmla="*/ 208450 w 1146476"/>
                <a:gd name="connsiteY116" fmla="*/ 556781 h 1064191"/>
                <a:gd name="connsiteX117" fmla="*/ 224907 w 1146476"/>
                <a:gd name="connsiteY117" fmla="*/ 540324 h 1064191"/>
                <a:gd name="connsiteX118" fmla="*/ 548553 w 1146476"/>
                <a:gd name="connsiteY118" fmla="*/ 540324 h 1064191"/>
                <a:gd name="connsiteX119" fmla="*/ 548553 w 1146476"/>
                <a:gd name="connsiteY119" fmla="*/ 606150 h 1064191"/>
                <a:gd name="connsiteX120" fmla="*/ 447071 w 1146476"/>
                <a:gd name="connsiteY120" fmla="*/ 724089 h 1064191"/>
                <a:gd name="connsiteX121" fmla="*/ 485470 w 1146476"/>
                <a:gd name="connsiteY121" fmla="*/ 811858 h 1064191"/>
                <a:gd name="connsiteX122" fmla="*/ 378502 w 1146476"/>
                <a:gd name="connsiteY122" fmla="*/ 894140 h 1064191"/>
                <a:gd name="connsiteX123" fmla="*/ 271535 w 1146476"/>
                <a:gd name="connsiteY123" fmla="*/ 811858 h 1064191"/>
                <a:gd name="connsiteX124" fmla="*/ 271535 w 1146476"/>
                <a:gd name="connsiteY124" fmla="*/ 811858 h 1064191"/>
                <a:gd name="connsiteX125" fmla="*/ 737805 w 1146476"/>
                <a:gd name="connsiteY125" fmla="*/ 965452 h 1064191"/>
                <a:gd name="connsiteX126" fmla="*/ 737805 w 1146476"/>
                <a:gd name="connsiteY126" fmla="*/ 1012079 h 1064191"/>
                <a:gd name="connsiteX127" fmla="*/ 713120 w 1146476"/>
                <a:gd name="connsiteY127" fmla="*/ 1034021 h 1064191"/>
                <a:gd name="connsiteX128" fmla="*/ 685692 w 1146476"/>
                <a:gd name="connsiteY128" fmla="*/ 1034021 h 1064191"/>
                <a:gd name="connsiteX129" fmla="*/ 685692 w 1146476"/>
                <a:gd name="connsiteY129" fmla="*/ 981909 h 1064191"/>
                <a:gd name="connsiteX130" fmla="*/ 669236 w 1146476"/>
                <a:gd name="connsiteY130" fmla="*/ 965452 h 1064191"/>
                <a:gd name="connsiteX131" fmla="*/ 652778 w 1146476"/>
                <a:gd name="connsiteY131" fmla="*/ 981909 h 1064191"/>
                <a:gd name="connsiteX132" fmla="*/ 652778 w 1146476"/>
                <a:gd name="connsiteY132" fmla="*/ 1034021 h 1064191"/>
                <a:gd name="connsiteX133" fmla="*/ 479984 w 1146476"/>
                <a:gd name="connsiteY133" fmla="*/ 1034021 h 1064191"/>
                <a:gd name="connsiteX134" fmla="*/ 479984 w 1146476"/>
                <a:gd name="connsiteY134" fmla="*/ 981909 h 1064191"/>
                <a:gd name="connsiteX135" fmla="*/ 463528 w 1146476"/>
                <a:gd name="connsiteY135" fmla="*/ 965452 h 1064191"/>
                <a:gd name="connsiteX136" fmla="*/ 447071 w 1146476"/>
                <a:gd name="connsiteY136" fmla="*/ 981909 h 1064191"/>
                <a:gd name="connsiteX137" fmla="*/ 447071 w 1146476"/>
                <a:gd name="connsiteY137" fmla="*/ 1034021 h 1064191"/>
                <a:gd name="connsiteX138" fmla="*/ 411415 w 1146476"/>
                <a:gd name="connsiteY138" fmla="*/ 1034021 h 1064191"/>
                <a:gd name="connsiteX139" fmla="*/ 397701 w 1146476"/>
                <a:gd name="connsiteY139" fmla="*/ 1020307 h 1064191"/>
                <a:gd name="connsiteX140" fmla="*/ 397701 w 1146476"/>
                <a:gd name="connsiteY140" fmla="*/ 965452 h 1064191"/>
                <a:gd name="connsiteX141" fmla="*/ 521126 w 1146476"/>
                <a:gd name="connsiteY141" fmla="*/ 842028 h 1064191"/>
                <a:gd name="connsiteX142" fmla="*/ 617123 w 1146476"/>
                <a:gd name="connsiteY142" fmla="*/ 842028 h 1064191"/>
                <a:gd name="connsiteX143" fmla="*/ 737805 w 1146476"/>
                <a:gd name="connsiteY143" fmla="*/ 965452 h 1064191"/>
                <a:gd name="connsiteX144" fmla="*/ 737805 w 1146476"/>
                <a:gd name="connsiteY144" fmla="*/ 965452 h 1064191"/>
                <a:gd name="connsiteX145" fmla="*/ 737805 w 1146476"/>
                <a:gd name="connsiteY145" fmla="*/ 965452 h 1064191"/>
                <a:gd name="connsiteX146" fmla="*/ 647292 w 1146476"/>
                <a:gd name="connsiteY146" fmla="*/ 811858 h 1064191"/>
                <a:gd name="connsiteX147" fmla="*/ 685692 w 1146476"/>
                <a:gd name="connsiteY147" fmla="*/ 724089 h 1064191"/>
                <a:gd name="connsiteX148" fmla="*/ 584209 w 1146476"/>
                <a:gd name="connsiteY148" fmla="*/ 606150 h 1064191"/>
                <a:gd name="connsiteX149" fmla="*/ 584209 w 1146476"/>
                <a:gd name="connsiteY149" fmla="*/ 540324 h 1064191"/>
                <a:gd name="connsiteX150" fmla="*/ 910599 w 1146476"/>
                <a:gd name="connsiteY150" fmla="*/ 540324 h 1064191"/>
                <a:gd name="connsiteX151" fmla="*/ 927055 w 1146476"/>
                <a:gd name="connsiteY151" fmla="*/ 556781 h 1064191"/>
                <a:gd name="connsiteX152" fmla="*/ 927055 w 1146476"/>
                <a:gd name="connsiteY152" fmla="*/ 606150 h 1064191"/>
                <a:gd name="connsiteX153" fmla="*/ 825572 w 1146476"/>
                <a:gd name="connsiteY153" fmla="*/ 724089 h 1064191"/>
                <a:gd name="connsiteX154" fmla="*/ 863972 w 1146476"/>
                <a:gd name="connsiteY154" fmla="*/ 811858 h 1064191"/>
                <a:gd name="connsiteX155" fmla="*/ 757003 w 1146476"/>
                <a:gd name="connsiteY155" fmla="*/ 894140 h 1064191"/>
                <a:gd name="connsiteX156" fmla="*/ 647292 w 1146476"/>
                <a:gd name="connsiteY156" fmla="*/ 811858 h 1064191"/>
                <a:gd name="connsiteX157" fmla="*/ 647292 w 1146476"/>
                <a:gd name="connsiteY157" fmla="*/ 811858 h 1064191"/>
                <a:gd name="connsiteX158" fmla="*/ 1113563 w 1146476"/>
                <a:gd name="connsiteY158" fmla="*/ 1020307 h 1064191"/>
                <a:gd name="connsiteX159" fmla="*/ 1099849 w 1146476"/>
                <a:gd name="connsiteY159" fmla="*/ 1034021 h 1064191"/>
                <a:gd name="connsiteX160" fmla="*/ 1064193 w 1146476"/>
                <a:gd name="connsiteY160" fmla="*/ 1034021 h 1064191"/>
                <a:gd name="connsiteX161" fmla="*/ 1064193 w 1146476"/>
                <a:gd name="connsiteY161" fmla="*/ 981909 h 1064191"/>
                <a:gd name="connsiteX162" fmla="*/ 1047737 w 1146476"/>
                <a:gd name="connsiteY162" fmla="*/ 965452 h 1064191"/>
                <a:gd name="connsiteX163" fmla="*/ 1031280 w 1146476"/>
                <a:gd name="connsiteY163" fmla="*/ 981909 h 1064191"/>
                <a:gd name="connsiteX164" fmla="*/ 1031280 w 1146476"/>
                <a:gd name="connsiteY164" fmla="*/ 1034021 h 1064191"/>
                <a:gd name="connsiteX165" fmla="*/ 858486 w 1146476"/>
                <a:gd name="connsiteY165" fmla="*/ 1034021 h 1064191"/>
                <a:gd name="connsiteX166" fmla="*/ 858486 w 1146476"/>
                <a:gd name="connsiteY166" fmla="*/ 981909 h 1064191"/>
                <a:gd name="connsiteX167" fmla="*/ 842030 w 1146476"/>
                <a:gd name="connsiteY167" fmla="*/ 965452 h 1064191"/>
                <a:gd name="connsiteX168" fmla="*/ 825572 w 1146476"/>
                <a:gd name="connsiteY168" fmla="*/ 981909 h 1064191"/>
                <a:gd name="connsiteX169" fmla="*/ 825572 w 1146476"/>
                <a:gd name="connsiteY169" fmla="*/ 1034021 h 1064191"/>
                <a:gd name="connsiteX170" fmla="*/ 789917 w 1146476"/>
                <a:gd name="connsiteY170" fmla="*/ 1034021 h 1064191"/>
                <a:gd name="connsiteX171" fmla="*/ 776203 w 1146476"/>
                <a:gd name="connsiteY171" fmla="*/ 1020307 h 1064191"/>
                <a:gd name="connsiteX172" fmla="*/ 776203 w 1146476"/>
                <a:gd name="connsiteY172" fmla="*/ 965452 h 1064191"/>
                <a:gd name="connsiteX173" fmla="*/ 776203 w 1146476"/>
                <a:gd name="connsiteY173" fmla="*/ 965452 h 1064191"/>
                <a:gd name="connsiteX174" fmla="*/ 899627 w 1146476"/>
                <a:gd name="connsiteY174" fmla="*/ 842028 h 1064191"/>
                <a:gd name="connsiteX175" fmla="*/ 995624 w 1146476"/>
                <a:gd name="connsiteY175" fmla="*/ 842028 h 1064191"/>
                <a:gd name="connsiteX176" fmla="*/ 1119049 w 1146476"/>
                <a:gd name="connsiteY176" fmla="*/ 965452 h 1064191"/>
                <a:gd name="connsiteX177" fmla="*/ 1119049 w 1146476"/>
                <a:gd name="connsiteY177" fmla="*/ 1020307 h 106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1146476" h="1064191">
                  <a:moveTo>
                    <a:pt x="1023052" y="811858"/>
                  </a:moveTo>
                  <a:cubicBezTo>
                    <a:pt x="1047737" y="789915"/>
                    <a:pt x="1061451" y="759745"/>
                    <a:pt x="1061451" y="724089"/>
                  </a:cubicBezTo>
                  <a:cubicBezTo>
                    <a:pt x="1061451" y="663748"/>
                    <a:pt x="1017566" y="614379"/>
                    <a:pt x="959969" y="606150"/>
                  </a:cubicBezTo>
                  <a:lnTo>
                    <a:pt x="959969" y="556781"/>
                  </a:lnTo>
                  <a:cubicBezTo>
                    <a:pt x="959969" y="529353"/>
                    <a:pt x="938027" y="507411"/>
                    <a:pt x="910599" y="507411"/>
                  </a:cubicBezTo>
                  <a:lnTo>
                    <a:pt x="584209" y="507411"/>
                  </a:lnTo>
                  <a:lnTo>
                    <a:pt x="584209" y="433356"/>
                  </a:lnTo>
                  <a:lnTo>
                    <a:pt x="619865" y="433356"/>
                  </a:lnTo>
                  <a:cubicBezTo>
                    <a:pt x="644550" y="433356"/>
                    <a:pt x="663750" y="414157"/>
                    <a:pt x="663750" y="389472"/>
                  </a:cubicBezTo>
                  <a:lnTo>
                    <a:pt x="663750" y="356559"/>
                  </a:lnTo>
                  <a:cubicBezTo>
                    <a:pt x="663750" y="345588"/>
                    <a:pt x="658264" y="334617"/>
                    <a:pt x="652778" y="326389"/>
                  </a:cubicBezTo>
                  <a:cubicBezTo>
                    <a:pt x="661006" y="307189"/>
                    <a:pt x="671978" y="290733"/>
                    <a:pt x="685692" y="274276"/>
                  </a:cubicBezTo>
                  <a:cubicBezTo>
                    <a:pt x="713120" y="244106"/>
                    <a:pt x="729575" y="205707"/>
                    <a:pt x="729575" y="164566"/>
                  </a:cubicBezTo>
                  <a:cubicBezTo>
                    <a:pt x="729575" y="159080"/>
                    <a:pt x="729575" y="153595"/>
                    <a:pt x="729575" y="150852"/>
                  </a:cubicBezTo>
                  <a:cubicBezTo>
                    <a:pt x="729575" y="142624"/>
                    <a:pt x="721348" y="134395"/>
                    <a:pt x="710377" y="134395"/>
                  </a:cubicBezTo>
                  <a:cubicBezTo>
                    <a:pt x="702148" y="134395"/>
                    <a:pt x="693920" y="142624"/>
                    <a:pt x="693920" y="153595"/>
                  </a:cubicBezTo>
                  <a:cubicBezTo>
                    <a:pt x="693920" y="156337"/>
                    <a:pt x="693920" y="161823"/>
                    <a:pt x="693920" y="164566"/>
                  </a:cubicBezTo>
                  <a:cubicBezTo>
                    <a:pt x="693920" y="197479"/>
                    <a:pt x="682950" y="227649"/>
                    <a:pt x="661006" y="249591"/>
                  </a:cubicBezTo>
                  <a:cubicBezTo>
                    <a:pt x="644550" y="268791"/>
                    <a:pt x="630837" y="287990"/>
                    <a:pt x="622609" y="309932"/>
                  </a:cubicBezTo>
                  <a:lnTo>
                    <a:pt x="518384" y="309932"/>
                  </a:lnTo>
                  <a:cubicBezTo>
                    <a:pt x="510154" y="287990"/>
                    <a:pt x="496440" y="266048"/>
                    <a:pt x="479984" y="249591"/>
                  </a:cubicBezTo>
                  <a:cubicBezTo>
                    <a:pt x="458042" y="224906"/>
                    <a:pt x="444329" y="194736"/>
                    <a:pt x="444329" y="161823"/>
                  </a:cubicBezTo>
                  <a:cubicBezTo>
                    <a:pt x="444329" y="93254"/>
                    <a:pt x="499184" y="35656"/>
                    <a:pt x="570495" y="35656"/>
                  </a:cubicBezTo>
                  <a:lnTo>
                    <a:pt x="570495" y="35656"/>
                  </a:lnTo>
                  <a:cubicBezTo>
                    <a:pt x="608895" y="35656"/>
                    <a:pt x="644550" y="52112"/>
                    <a:pt x="669236" y="82283"/>
                  </a:cubicBezTo>
                  <a:cubicBezTo>
                    <a:pt x="674720" y="90511"/>
                    <a:pt x="685692" y="90511"/>
                    <a:pt x="693920" y="85026"/>
                  </a:cubicBezTo>
                  <a:cubicBezTo>
                    <a:pt x="702148" y="79540"/>
                    <a:pt x="702148" y="68569"/>
                    <a:pt x="696664" y="60341"/>
                  </a:cubicBezTo>
                  <a:cubicBezTo>
                    <a:pt x="666492" y="21942"/>
                    <a:pt x="619865" y="0"/>
                    <a:pt x="570495" y="0"/>
                  </a:cubicBezTo>
                  <a:cubicBezTo>
                    <a:pt x="570495" y="0"/>
                    <a:pt x="570495" y="0"/>
                    <a:pt x="570495" y="0"/>
                  </a:cubicBezTo>
                  <a:cubicBezTo>
                    <a:pt x="482726" y="0"/>
                    <a:pt x="411415" y="71312"/>
                    <a:pt x="411415" y="159080"/>
                  </a:cubicBezTo>
                  <a:cubicBezTo>
                    <a:pt x="411415" y="200222"/>
                    <a:pt x="427871" y="238620"/>
                    <a:pt x="455299" y="268791"/>
                  </a:cubicBezTo>
                  <a:cubicBezTo>
                    <a:pt x="469013" y="282504"/>
                    <a:pt x="479984" y="301704"/>
                    <a:pt x="488212" y="318160"/>
                  </a:cubicBezTo>
                  <a:cubicBezTo>
                    <a:pt x="479984" y="326389"/>
                    <a:pt x="477242" y="337360"/>
                    <a:pt x="477242" y="348331"/>
                  </a:cubicBezTo>
                  <a:lnTo>
                    <a:pt x="477242" y="381244"/>
                  </a:lnTo>
                  <a:cubicBezTo>
                    <a:pt x="477242" y="405929"/>
                    <a:pt x="496440" y="425128"/>
                    <a:pt x="521126" y="425128"/>
                  </a:cubicBezTo>
                  <a:lnTo>
                    <a:pt x="556781" y="425128"/>
                  </a:lnTo>
                  <a:lnTo>
                    <a:pt x="556781" y="499183"/>
                  </a:lnTo>
                  <a:lnTo>
                    <a:pt x="230393" y="499183"/>
                  </a:lnTo>
                  <a:cubicBezTo>
                    <a:pt x="202965" y="499183"/>
                    <a:pt x="181022" y="521125"/>
                    <a:pt x="181022" y="548552"/>
                  </a:cubicBezTo>
                  <a:lnTo>
                    <a:pt x="181022" y="597922"/>
                  </a:lnTo>
                  <a:cubicBezTo>
                    <a:pt x="123425" y="606150"/>
                    <a:pt x="79541" y="655520"/>
                    <a:pt x="79541" y="715861"/>
                  </a:cubicBezTo>
                  <a:cubicBezTo>
                    <a:pt x="79541" y="748774"/>
                    <a:pt x="93255" y="781687"/>
                    <a:pt x="117939" y="803629"/>
                  </a:cubicBezTo>
                  <a:cubicBezTo>
                    <a:pt x="101483" y="806372"/>
                    <a:pt x="85025" y="814600"/>
                    <a:pt x="68569" y="822829"/>
                  </a:cubicBezTo>
                  <a:cubicBezTo>
                    <a:pt x="60341" y="828314"/>
                    <a:pt x="57597" y="839285"/>
                    <a:pt x="63083" y="847513"/>
                  </a:cubicBezTo>
                  <a:cubicBezTo>
                    <a:pt x="68569" y="855742"/>
                    <a:pt x="79541" y="858484"/>
                    <a:pt x="87769" y="852999"/>
                  </a:cubicBezTo>
                  <a:cubicBezTo>
                    <a:pt x="106969" y="842028"/>
                    <a:pt x="128910" y="833800"/>
                    <a:pt x="153594" y="833800"/>
                  </a:cubicBezTo>
                  <a:lnTo>
                    <a:pt x="249591" y="833800"/>
                  </a:lnTo>
                  <a:cubicBezTo>
                    <a:pt x="318160" y="833800"/>
                    <a:pt x="373016" y="888655"/>
                    <a:pt x="373016" y="957224"/>
                  </a:cubicBezTo>
                  <a:lnTo>
                    <a:pt x="373016" y="1012079"/>
                  </a:lnTo>
                  <a:cubicBezTo>
                    <a:pt x="373016" y="1020307"/>
                    <a:pt x="367532" y="1025793"/>
                    <a:pt x="359302" y="1025793"/>
                  </a:cubicBezTo>
                  <a:lnTo>
                    <a:pt x="323646" y="1025793"/>
                  </a:lnTo>
                  <a:lnTo>
                    <a:pt x="323646" y="973681"/>
                  </a:lnTo>
                  <a:cubicBezTo>
                    <a:pt x="323646" y="965452"/>
                    <a:pt x="315418" y="957224"/>
                    <a:pt x="307190" y="957224"/>
                  </a:cubicBezTo>
                  <a:cubicBezTo>
                    <a:pt x="298962" y="957224"/>
                    <a:pt x="290733" y="965452"/>
                    <a:pt x="290733" y="973681"/>
                  </a:cubicBezTo>
                  <a:lnTo>
                    <a:pt x="290733" y="1025793"/>
                  </a:lnTo>
                  <a:lnTo>
                    <a:pt x="117939" y="1025793"/>
                  </a:lnTo>
                  <a:lnTo>
                    <a:pt x="117939" y="973681"/>
                  </a:lnTo>
                  <a:cubicBezTo>
                    <a:pt x="117939" y="965452"/>
                    <a:pt x="109711" y="957224"/>
                    <a:pt x="101483" y="957224"/>
                  </a:cubicBezTo>
                  <a:cubicBezTo>
                    <a:pt x="93255" y="957224"/>
                    <a:pt x="85025" y="965452"/>
                    <a:pt x="85025" y="973681"/>
                  </a:cubicBezTo>
                  <a:lnTo>
                    <a:pt x="85025" y="1025793"/>
                  </a:lnTo>
                  <a:lnTo>
                    <a:pt x="49369" y="1025793"/>
                  </a:lnTo>
                  <a:cubicBezTo>
                    <a:pt x="41142" y="1025793"/>
                    <a:pt x="35656" y="1020307"/>
                    <a:pt x="35656" y="1012079"/>
                  </a:cubicBezTo>
                  <a:lnTo>
                    <a:pt x="35656" y="957224"/>
                  </a:lnTo>
                  <a:cubicBezTo>
                    <a:pt x="35656" y="938025"/>
                    <a:pt x="38399" y="921568"/>
                    <a:pt x="46627" y="905112"/>
                  </a:cubicBezTo>
                  <a:cubicBezTo>
                    <a:pt x="49369" y="896883"/>
                    <a:pt x="46627" y="885912"/>
                    <a:pt x="38399" y="883169"/>
                  </a:cubicBezTo>
                  <a:cubicBezTo>
                    <a:pt x="30170" y="880427"/>
                    <a:pt x="19200" y="883169"/>
                    <a:pt x="16456" y="891398"/>
                  </a:cubicBezTo>
                  <a:cubicBezTo>
                    <a:pt x="5486" y="913340"/>
                    <a:pt x="0" y="935282"/>
                    <a:pt x="0" y="959967"/>
                  </a:cubicBezTo>
                  <a:lnTo>
                    <a:pt x="0" y="1014822"/>
                  </a:lnTo>
                  <a:cubicBezTo>
                    <a:pt x="0" y="1042250"/>
                    <a:pt x="21942" y="1064192"/>
                    <a:pt x="49369" y="1064192"/>
                  </a:cubicBezTo>
                  <a:lnTo>
                    <a:pt x="362046" y="1064192"/>
                  </a:lnTo>
                  <a:cubicBezTo>
                    <a:pt x="373016" y="1064192"/>
                    <a:pt x="386730" y="1058706"/>
                    <a:pt x="394959" y="1053221"/>
                  </a:cubicBezTo>
                  <a:cubicBezTo>
                    <a:pt x="403187" y="1061449"/>
                    <a:pt x="414157" y="1064192"/>
                    <a:pt x="427871" y="1064192"/>
                  </a:cubicBezTo>
                  <a:lnTo>
                    <a:pt x="713120" y="1064192"/>
                  </a:lnTo>
                  <a:cubicBezTo>
                    <a:pt x="726833" y="1064192"/>
                    <a:pt x="740547" y="1058706"/>
                    <a:pt x="751519" y="1050478"/>
                  </a:cubicBezTo>
                  <a:cubicBezTo>
                    <a:pt x="759747" y="1058706"/>
                    <a:pt x="773461" y="1064192"/>
                    <a:pt x="787175" y="1064192"/>
                  </a:cubicBezTo>
                  <a:lnTo>
                    <a:pt x="1097107" y="1064192"/>
                  </a:lnTo>
                  <a:cubicBezTo>
                    <a:pt x="1124535" y="1064192"/>
                    <a:pt x="1146476" y="1042250"/>
                    <a:pt x="1146476" y="1014822"/>
                  </a:cubicBezTo>
                  <a:lnTo>
                    <a:pt x="1146476" y="959967"/>
                  </a:lnTo>
                  <a:cubicBezTo>
                    <a:pt x="1146476" y="891398"/>
                    <a:pt x="1094365" y="828314"/>
                    <a:pt x="1023052" y="811858"/>
                  </a:cubicBezTo>
                  <a:lnTo>
                    <a:pt x="1023052" y="811858"/>
                  </a:lnTo>
                  <a:close/>
                  <a:moveTo>
                    <a:pt x="943513" y="641806"/>
                  </a:moveTo>
                  <a:cubicBezTo>
                    <a:pt x="943513" y="641806"/>
                    <a:pt x="946255" y="641806"/>
                    <a:pt x="946255" y="641806"/>
                  </a:cubicBezTo>
                  <a:cubicBezTo>
                    <a:pt x="990138" y="644549"/>
                    <a:pt x="1028538" y="680205"/>
                    <a:pt x="1028538" y="726832"/>
                  </a:cubicBezTo>
                  <a:cubicBezTo>
                    <a:pt x="1028538" y="767973"/>
                    <a:pt x="1001110" y="800887"/>
                    <a:pt x="959969" y="809115"/>
                  </a:cubicBezTo>
                  <a:lnTo>
                    <a:pt x="927055" y="809115"/>
                  </a:lnTo>
                  <a:cubicBezTo>
                    <a:pt x="888657" y="800887"/>
                    <a:pt x="858486" y="765231"/>
                    <a:pt x="858486" y="726832"/>
                  </a:cubicBezTo>
                  <a:cubicBezTo>
                    <a:pt x="858486" y="680205"/>
                    <a:pt x="894142" y="644549"/>
                    <a:pt x="940769" y="641806"/>
                  </a:cubicBezTo>
                  <a:cubicBezTo>
                    <a:pt x="940769" y="641806"/>
                    <a:pt x="940769" y="641806"/>
                    <a:pt x="943513" y="641806"/>
                  </a:cubicBezTo>
                  <a:lnTo>
                    <a:pt x="943513" y="641806"/>
                  </a:lnTo>
                  <a:close/>
                  <a:moveTo>
                    <a:pt x="512898" y="400443"/>
                  </a:moveTo>
                  <a:cubicBezTo>
                    <a:pt x="507412" y="400443"/>
                    <a:pt x="504670" y="397701"/>
                    <a:pt x="504670" y="392215"/>
                  </a:cubicBezTo>
                  <a:lnTo>
                    <a:pt x="504670" y="359302"/>
                  </a:lnTo>
                  <a:cubicBezTo>
                    <a:pt x="504670" y="353816"/>
                    <a:pt x="507412" y="351073"/>
                    <a:pt x="512898" y="351073"/>
                  </a:cubicBezTo>
                  <a:lnTo>
                    <a:pt x="617123" y="351073"/>
                  </a:lnTo>
                  <a:cubicBezTo>
                    <a:pt x="622609" y="351073"/>
                    <a:pt x="625351" y="353816"/>
                    <a:pt x="625351" y="359302"/>
                  </a:cubicBezTo>
                  <a:lnTo>
                    <a:pt x="625351" y="392215"/>
                  </a:lnTo>
                  <a:cubicBezTo>
                    <a:pt x="625351" y="397701"/>
                    <a:pt x="622609" y="400443"/>
                    <a:pt x="617123" y="400443"/>
                  </a:cubicBezTo>
                  <a:lnTo>
                    <a:pt x="512898" y="400443"/>
                  </a:lnTo>
                  <a:lnTo>
                    <a:pt x="512898" y="400443"/>
                  </a:lnTo>
                  <a:close/>
                  <a:moveTo>
                    <a:pt x="565009" y="639063"/>
                  </a:moveTo>
                  <a:cubicBezTo>
                    <a:pt x="611637" y="639063"/>
                    <a:pt x="650036" y="677462"/>
                    <a:pt x="650036" y="724089"/>
                  </a:cubicBezTo>
                  <a:cubicBezTo>
                    <a:pt x="650036" y="765231"/>
                    <a:pt x="622609" y="798144"/>
                    <a:pt x="581467" y="806372"/>
                  </a:cubicBezTo>
                  <a:lnTo>
                    <a:pt x="548553" y="806372"/>
                  </a:lnTo>
                  <a:cubicBezTo>
                    <a:pt x="510154" y="798144"/>
                    <a:pt x="479984" y="762488"/>
                    <a:pt x="479984" y="724089"/>
                  </a:cubicBezTo>
                  <a:cubicBezTo>
                    <a:pt x="479984" y="677462"/>
                    <a:pt x="518384" y="639063"/>
                    <a:pt x="565009" y="639063"/>
                  </a:cubicBezTo>
                  <a:lnTo>
                    <a:pt x="565009" y="639063"/>
                  </a:lnTo>
                  <a:close/>
                  <a:moveTo>
                    <a:pt x="205708" y="809115"/>
                  </a:moveTo>
                  <a:lnTo>
                    <a:pt x="172794" y="809115"/>
                  </a:lnTo>
                  <a:cubicBezTo>
                    <a:pt x="134396" y="800887"/>
                    <a:pt x="104225" y="765231"/>
                    <a:pt x="104225" y="726832"/>
                  </a:cubicBezTo>
                  <a:cubicBezTo>
                    <a:pt x="104225" y="680205"/>
                    <a:pt x="142624" y="641806"/>
                    <a:pt x="189252" y="641806"/>
                  </a:cubicBezTo>
                  <a:cubicBezTo>
                    <a:pt x="235877" y="641806"/>
                    <a:pt x="274277" y="680205"/>
                    <a:pt x="274277" y="726832"/>
                  </a:cubicBezTo>
                  <a:cubicBezTo>
                    <a:pt x="274277" y="765231"/>
                    <a:pt x="244107" y="800887"/>
                    <a:pt x="205708" y="809115"/>
                  </a:cubicBezTo>
                  <a:lnTo>
                    <a:pt x="205708" y="809115"/>
                  </a:lnTo>
                  <a:close/>
                  <a:moveTo>
                    <a:pt x="271535" y="811858"/>
                  </a:moveTo>
                  <a:cubicBezTo>
                    <a:pt x="296219" y="789915"/>
                    <a:pt x="309932" y="759745"/>
                    <a:pt x="309932" y="724089"/>
                  </a:cubicBezTo>
                  <a:cubicBezTo>
                    <a:pt x="309932" y="663748"/>
                    <a:pt x="266049" y="614379"/>
                    <a:pt x="208450" y="606150"/>
                  </a:cubicBezTo>
                  <a:lnTo>
                    <a:pt x="208450" y="556781"/>
                  </a:lnTo>
                  <a:cubicBezTo>
                    <a:pt x="208450" y="548552"/>
                    <a:pt x="216679" y="540324"/>
                    <a:pt x="224907" y="540324"/>
                  </a:cubicBezTo>
                  <a:lnTo>
                    <a:pt x="548553" y="540324"/>
                  </a:lnTo>
                  <a:lnTo>
                    <a:pt x="548553" y="606150"/>
                  </a:lnTo>
                  <a:cubicBezTo>
                    <a:pt x="490956" y="614379"/>
                    <a:pt x="447071" y="663748"/>
                    <a:pt x="447071" y="724089"/>
                  </a:cubicBezTo>
                  <a:cubicBezTo>
                    <a:pt x="447071" y="757002"/>
                    <a:pt x="460785" y="789915"/>
                    <a:pt x="485470" y="811858"/>
                  </a:cubicBezTo>
                  <a:cubicBezTo>
                    <a:pt x="438843" y="822829"/>
                    <a:pt x="400443" y="852999"/>
                    <a:pt x="378502" y="894140"/>
                  </a:cubicBezTo>
                  <a:cubicBezTo>
                    <a:pt x="356560" y="852999"/>
                    <a:pt x="318160" y="822829"/>
                    <a:pt x="271535" y="811858"/>
                  </a:cubicBezTo>
                  <a:lnTo>
                    <a:pt x="271535" y="811858"/>
                  </a:lnTo>
                  <a:close/>
                  <a:moveTo>
                    <a:pt x="737805" y="965452"/>
                  </a:moveTo>
                  <a:lnTo>
                    <a:pt x="737805" y="1012079"/>
                  </a:lnTo>
                  <a:cubicBezTo>
                    <a:pt x="737805" y="1025793"/>
                    <a:pt x="726833" y="1034021"/>
                    <a:pt x="713120" y="1034021"/>
                  </a:cubicBezTo>
                  <a:lnTo>
                    <a:pt x="685692" y="1034021"/>
                  </a:lnTo>
                  <a:lnTo>
                    <a:pt x="685692" y="981909"/>
                  </a:lnTo>
                  <a:cubicBezTo>
                    <a:pt x="685692" y="973681"/>
                    <a:pt x="677464" y="965452"/>
                    <a:pt x="669236" y="965452"/>
                  </a:cubicBezTo>
                  <a:cubicBezTo>
                    <a:pt x="661006" y="965452"/>
                    <a:pt x="652778" y="973681"/>
                    <a:pt x="652778" y="981909"/>
                  </a:cubicBezTo>
                  <a:lnTo>
                    <a:pt x="652778" y="1034021"/>
                  </a:lnTo>
                  <a:lnTo>
                    <a:pt x="479984" y="1034021"/>
                  </a:lnTo>
                  <a:lnTo>
                    <a:pt x="479984" y="981909"/>
                  </a:lnTo>
                  <a:cubicBezTo>
                    <a:pt x="479984" y="973681"/>
                    <a:pt x="471756" y="965452"/>
                    <a:pt x="463528" y="965452"/>
                  </a:cubicBezTo>
                  <a:cubicBezTo>
                    <a:pt x="455299" y="965452"/>
                    <a:pt x="447071" y="973681"/>
                    <a:pt x="447071" y="981909"/>
                  </a:cubicBezTo>
                  <a:lnTo>
                    <a:pt x="447071" y="1034021"/>
                  </a:lnTo>
                  <a:lnTo>
                    <a:pt x="411415" y="1034021"/>
                  </a:lnTo>
                  <a:cubicBezTo>
                    <a:pt x="403187" y="1034021"/>
                    <a:pt x="397701" y="1028536"/>
                    <a:pt x="397701" y="1020307"/>
                  </a:cubicBezTo>
                  <a:lnTo>
                    <a:pt x="397701" y="965452"/>
                  </a:lnTo>
                  <a:cubicBezTo>
                    <a:pt x="397701" y="896883"/>
                    <a:pt x="452557" y="842028"/>
                    <a:pt x="521126" y="842028"/>
                  </a:cubicBezTo>
                  <a:lnTo>
                    <a:pt x="617123" y="842028"/>
                  </a:lnTo>
                  <a:cubicBezTo>
                    <a:pt x="680206" y="842028"/>
                    <a:pt x="735061" y="896883"/>
                    <a:pt x="737805" y="965452"/>
                  </a:cubicBezTo>
                  <a:cubicBezTo>
                    <a:pt x="737805" y="965452"/>
                    <a:pt x="737805" y="965452"/>
                    <a:pt x="737805" y="965452"/>
                  </a:cubicBezTo>
                  <a:lnTo>
                    <a:pt x="737805" y="965452"/>
                  </a:lnTo>
                  <a:close/>
                  <a:moveTo>
                    <a:pt x="647292" y="811858"/>
                  </a:moveTo>
                  <a:cubicBezTo>
                    <a:pt x="671978" y="789915"/>
                    <a:pt x="685692" y="759745"/>
                    <a:pt x="685692" y="724089"/>
                  </a:cubicBezTo>
                  <a:cubicBezTo>
                    <a:pt x="685692" y="663748"/>
                    <a:pt x="641808" y="614379"/>
                    <a:pt x="584209" y="606150"/>
                  </a:cubicBezTo>
                  <a:lnTo>
                    <a:pt x="584209" y="540324"/>
                  </a:lnTo>
                  <a:lnTo>
                    <a:pt x="910599" y="540324"/>
                  </a:lnTo>
                  <a:cubicBezTo>
                    <a:pt x="918827" y="540324"/>
                    <a:pt x="927055" y="548552"/>
                    <a:pt x="927055" y="556781"/>
                  </a:cubicBezTo>
                  <a:lnTo>
                    <a:pt x="927055" y="606150"/>
                  </a:lnTo>
                  <a:cubicBezTo>
                    <a:pt x="869458" y="614379"/>
                    <a:pt x="825572" y="663748"/>
                    <a:pt x="825572" y="724089"/>
                  </a:cubicBezTo>
                  <a:cubicBezTo>
                    <a:pt x="825572" y="757002"/>
                    <a:pt x="839286" y="789915"/>
                    <a:pt x="863972" y="811858"/>
                  </a:cubicBezTo>
                  <a:cubicBezTo>
                    <a:pt x="817344" y="822829"/>
                    <a:pt x="778947" y="852999"/>
                    <a:pt x="757003" y="894140"/>
                  </a:cubicBezTo>
                  <a:cubicBezTo>
                    <a:pt x="732319" y="852999"/>
                    <a:pt x="693920" y="822829"/>
                    <a:pt x="647292" y="811858"/>
                  </a:cubicBezTo>
                  <a:lnTo>
                    <a:pt x="647292" y="811858"/>
                  </a:lnTo>
                  <a:close/>
                  <a:moveTo>
                    <a:pt x="1113563" y="1020307"/>
                  </a:moveTo>
                  <a:cubicBezTo>
                    <a:pt x="1113563" y="1028536"/>
                    <a:pt x="1108079" y="1034021"/>
                    <a:pt x="1099849" y="1034021"/>
                  </a:cubicBezTo>
                  <a:lnTo>
                    <a:pt x="1064193" y="1034021"/>
                  </a:lnTo>
                  <a:lnTo>
                    <a:pt x="1064193" y="981909"/>
                  </a:lnTo>
                  <a:cubicBezTo>
                    <a:pt x="1064193" y="973681"/>
                    <a:pt x="1055965" y="965452"/>
                    <a:pt x="1047737" y="965452"/>
                  </a:cubicBezTo>
                  <a:cubicBezTo>
                    <a:pt x="1039510" y="965452"/>
                    <a:pt x="1031280" y="973681"/>
                    <a:pt x="1031280" y="981909"/>
                  </a:cubicBezTo>
                  <a:lnTo>
                    <a:pt x="1031280" y="1034021"/>
                  </a:lnTo>
                  <a:lnTo>
                    <a:pt x="858486" y="1034021"/>
                  </a:lnTo>
                  <a:lnTo>
                    <a:pt x="858486" y="981909"/>
                  </a:lnTo>
                  <a:cubicBezTo>
                    <a:pt x="858486" y="973681"/>
                    <a:pt x="850258" y="965452"/>
                    <a:pt x="842030" y="965452"/>
                  </a:cubicBezTo>
                  <a:cubicBezTo>
                    <a:pt x="833802" y="965452"/>
                    <a:pt x="825572" y="973681"/>
                    <a:pt x="825572" y="981909"/>
                  </a:cubicBezTo>
                  <a:lnTo>
                    <a:pt x="825572" y="1034021"/>
                  </a:lnTo>
                  <a:lnTo>
                    <a:pt x="789917" y="1034021"/>
                  </a:lnTo>
                  <a:cubicBezTo>
                    <a:pt x="781689" y="1034021"/>
                    <a:pt x="776203" y="1028536"/>
                    <a:pt x="776203" y="1020307"/>
                  </a:cubicBezTo>
                  <a:cubicBezTo>
                    <a:pt x="776203" y="959967"/>
                    <a:pt x="776203" y="968195"/>
                    <a:pt x="776203" y="965452"/>
                  </a:cubicBezTo>
                  <a:cubicBezTo>
                    <a:pt x="776203" y="965452"/>
                    <a:pt x="776203" y="965452"/>
                    <a:pt x="776203" y="965452"/>
                  </a:cubicBezTo>
                  <a:cubicBezTo>
                    <a:pt x="776203" y="896883"/>
                    <a:pt x="831058" y="842028"/>
                    <a:pt x="899627" y="842028"/>
                  </a:cubicBezTo>
                  <a:lnTo>
                    <a:pt x="995624" y="842028"/>
                  </a:lnTo>
                  <a:cubicBezTo>
                    <a:pt x="1064193" y="842028"/>
                    <a:pt x="1119049" y="896883"/>
                    <a:pt x="1119049" y="965452"/>
                  </a:cubicBezTo>
                  <a:lnTo>
                    <a:pt x="1119049" y="1020307"/>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3EEA9142-E4D1-A420-57B5-EEAB322D8D03}"/>
                </a:ext>
              </a:extLst>
            </p:cNvPr>
            <p:cNvSpPr/>
            <p:nvPr/>
          </p:nvSpPr>
          <p:spPr>
            <a:xfrm>
              <a:off x="6889905" y="572719"/>
              <a:ext cx="65825" cy="32913"/>
            </a:xfrm>
            <a:custGeom>
              <a:avLst/>
              <a:gdLst>
                <a:gd name="connsiteX0" fmla="*/ 16456 w 65825"/>
                <a:gd name="connsiteY0" fmla="*/ 32913 h 32913"/>
                <a:gd name="connsiteX1" fmla="*/ 49369 w 65825"/>
                <a:gd name="connsiteY1" fmla="*/ 32913 h 32913"/>
                <a:gd name="connsiteX2" fmla="*/ 65825 w 65825"/>
                <a:gd name="connsiteY2" fmla="*/ 16457 h 32913"/>
                <a:gd name="connsiteX3" fmla="*/ 49369 w 65825"/>
                <a:gd name="connsiteY3" fmla="*/ 0 h 32913"/>
                <a:gd name="connsiteX4" fmla="*/ 16456 w 65825"/>
                <a:gd name="connsiteY4" fmla="*/ 0 h 32913"/>
                <a:gd name="connsiteX5" fmla="*/ 0 w 65825"/>
                <a:gd name="connsiteY5" fmla="*/ 16457 h 32913"/>
                <a:gd name="connsiteX6" fmla="*/ 16456 w 65825"/>
                <a:gd name="connsiteY6" fmla="*/ 32913 h 32913"/>
                <a:gd name="connsiteX7" fmla="*/ 16456 w 6582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5" h="32913">
                  <a:moveTo>
                    <a:pt x="16456" y="32913"/>
                  </a:moveTo>
                  <a:lnTo>
                    <a:pt x="49369" y="32913"/>
                  </a:lnTo>
                  <a:cubicBezTo>
                    <a:pt x="57597" y="32913"/>
                    <a:pt x="65825" y="24685"/>
                    <a:pt x="65825" y="16457"/>
                  </a:cubicBezTo>
                  <a:cubicBezTo>
                    <a:pt x="65825" y="8228"/>
                    <a:pt x="57597" y="0"/>
                    <a:pt x="49369" y="0"/>
                  </a:cubicBezTo>
                  <a:lnTo>
                    <a:pt x="16456" y="0"/>
                  </a:lnTo>
                  <a:cubicBezTo>
                    <a:pt x="8228" y="0"/>
                    <a:pt x="0" y="8228"/>
                    <a:pt x="0" y="16457"/>
                  </a:cubicBezTo>
                  <a:cubicBezTo>
                    <a:pt x="0" y="24685"/>
                    <a:pt x="8228" y="32913"/>
                    <a:pt x="16456" y="32913"/>
                  </a:cubicBezTo>
                  <a:lnTo>
                    <a:pt x="16456" y="32913"/>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F57A788D-82DD-46BB-116F-58FB1FF12C73}"/>
                </a:ext>
              </a:extLst>
            </p:cNvPr>
            <p:cNvSpPr/>
            <p:nvPr/>
          </p:nvSpPr>
          <p:spPr>
            <a:xfrm>
              <a:off x="7339717" y="572719"/>
              <a:ext cx="65827" cy="32913"/>
            </a:xfrm>
            <a:custGeom>
              <a:avLst/>
              <a:gdLst>
                <a:gd name="connsiteX0" fmla="*/ 16458 w 65827"/>
                <a:gd name="connsiteY0" fmla="*/ 32913 h 32913"/>
                <a:gd name="connsiteX1" fmla="*/ 49371 w 65827"/>
                <a:gd name="connsiteY1" fmla="*/ 32913 h 32913"/>
                <a:gd name="connsiteX2" fmla="*/ 65827 w 65827"/>
                <a:gd name="connsiteY2" fmla="*/ 16457 h 32913"/>
                <a:gd name="connsiteX3" fmla="*/ 49371 w 65827"/>
                <a:gd name="connsiteY3" fmla="*/ 0 h 32913"/>
                <a:gd name="connsiteX4" fmla="*/ 16458 w 65827"/>
                <a:gd name="connsiteY4" fmla="*/ 0 h 32913"/>
                <a:gd name="connsiteX5" fmla="*/ 0 w 65827"/>
                <a:gd name="connsiteY5" fmla="*/ 16457 h 32913"/>
                <a:gd name="connsiteX6" fmla="*/ 16458 w 65827"/>
                <a:gd name="connsiteY6" fmla="*/ 32913 h 32913"/>
                <a:gd name="connsiteX7" fmla="*/ 16458 w 65827"/>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27" h="32913">
                  <a:moveTo>
                    <a:pt x="16458" y="32913"/>
                  </a:moveTo>
                  <a:lnTo>
                    <a:pt x="49371" y="32913"/>
                  </a:lnTo>
                  <a:cubicBezTo>
                    <a:pt x="57599" y="32913"/>
                    <a:pt x="65827" y="24685"/>
                    <a:pt x="65827" y="16457"/>
                  </a:cubicBezTo>
                  <a:cubicBezTo>
                    <a:pt x="65827" y="8228"/>
                    <a:pt x="57599" y="0"/>
                    <a:pt x="49371" y="0"/>
                  </a:cubicBezTo>
                  <a:lnTo>
                    <a:pt x="16458" y="0"/>
                  </a:lnTo>
                  <a:cubicBezTo>
                    <a:pt x="8230" y="0"/>
                    <a:pt x="0" y="8228"/>
                    <a:pt x="0" y="16457"/>
                  </a:cubicBezTo>
                  <a:cubicBezTo>
                    <a:pt x="0" y="24685"/>
                    <a:pt x="8230" y="32913"/>
                    <a:pt x="16458" y="32913"/>
                  </a:cubicBezTo>
                  <a:lnTo>
                    <a:pt x="16458" y="32913"/>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2A7D163C-CB3F-F553-1A7E-FC9A05DC95B2}"/>
                </a:ext>
              </a:extLst>
            </p:cNvPr>
            <p:cNvSpPr/>
            <p:nvPr/>
          </p:nvSpPr>
          <p:spPr>
            <a:xfrm>
              <a:off x="6959845" y="401296"/>
              <a:ext cx="54854" cy="56226"/>
            </a:xfrm>
            <a:custGeom>
              <a:avLst/>
              <a:gdLst>
                <a:gd name="connsiteX0" fmla="*/ 28798 w 54854"/>
                <a:gd name="connsiteY0" fmla="*/ 50741 h 56226"/>
                <a:gd name="connsiteX1" fmla="*/ 39770 w 54854"/>
                <a:gd name="connsiteY1" fmla="*/ 56227 h 56226"/>
                <a:gd name="connsiteX2" fmla="*/ 50740 w 54854"/>
                <a:gd name="connsiteY2" fmla="*/ 50741 h 56226"/>
                <a:gd name="connsiteX3" fmla="*/ 50740 w 54854"/>
                <a:gd name="connsiteY3" fmla="*/ 26056 h 56226"/>
                <a:gd name="connsiteX4" fmla="*/ 28798 w 54854"/>
                <a:gd name="connsiteY4" fmla="*/ 4114 h 56226"/>
                <a:gd name="connsiteX5" fmla="*/ 4114 w 54854"/>
                <a:gd name="connsiteY5" fmla="*/ 4114 h 56226"/>
                <a:gd name="connsiteX6" fmla="*/ 4114 w 54854"/>
                <a:gd name="connsiteY6" fmla="*/ 28799 h 56226"/>
                <a:gd name="connsiteX7" fmla="*/ 28798 w 54854"/>
                <a:gd name="connsiteY7" fmla="*/ 50741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54" h="56226">
                  <a:moveTo>
                    <a:pt x="28798" y="50741"/>
                  </a:moveTo>
                  <a:cubicBezTo>
                    <a:pt x="31542" y="53484"/>
                    <a:pt x="37026" y="56227"/>
                    <a:pt x="39770" y="56227"/>
                  </a:cubicBezTo>
                  <a:cubicBezTo>
                    <a:pt x="45256" y="56227"/>
                    <a:pt x="47998" y="53484"/>
                    <a:pt x="50740" y="50741"/>
                  </a:cubicBezTo>
                  <a:cubicBezTo>
                    <a:pt x="56226" y="45256"/>
                    <a:pt x="56226" y="34284"/>
                    <a:pt x="50740" y="26056"/>
                  </a:cubicBezTo>
                  <a:lnTo>
                    <a:pt x="28798" y="4114"/>
                  </a:lnTo>
                  <a:cubicBezTo>
                    <a:pt x="23312" y="-1371"/>
                    <a:pt x="12342" y="-1371"/>
                    <a:pt x="4114" y="4114"/>
                  </a:cubicBezTo>
                  <a:cubicBezTo>
                    <a:pt x="-1371" y="9600"/>
                    <a:pt x="-1371" y="20571"/>
                    <a:pt x="4114" y="28799"/>
                  </a:cubicBezTo>
                  <a:lnTo>
                    <a:pt x="28798" y="50741"/>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09D7EF5E-E12F-6A8C-BFF0-175AA3E0D8FE}"/>
                </a:ext>
              </a:extLst>
            </p:cNvPr>
            <p:cNvSpPr/>
            <p:nvPr/>
          </p:nvSpPr>
          <p:spPr>
            <a:xfrm>
              <a:off x="7278006" y="719456"/>
              <a:ext cx="52112" cy="56226"/>
            </a:xfrm>
            <a:custGeom>
              <a:avLst/>
              <a:gdLst>
                <a:gd name="connsiteX0" fmla="*/ 28800 w 52112"/>
                <a:gd name="connsiteY0" fmla="*/ 4114 h 56226"/>
                <a:gd name="connsiteX1" fmla="*/ 4114 w 52112"/>
                <a:gd name="connsiteY1" fmla="*/ 4114 h 56226"/>
                <a:gd name="connsiteX2" fmla="*/ 4114 w 52112"/>
                <a:gd name="connsiteY2" fmla="*/ 28799 h 56226"/>
                <a:gd name="connsiteX3" fmla="*/ 26056 w 52112"/>
                <a:gd name="connsiteY3" fmla="*/ 50741 h 56226"/>
                <a:gd name="connsiteX4" fmla="*/ 37028 w 52112"/>
                <a:gd name="connsiteY4" fmla="*/ 56227 h 56226"/>
                <a:gd name="connsiteX5" fmla="*/ 47998 w 52112"/>
                <a:gd name="connsiteY5" fmla="*/ 50741 h 56226"/>
                <a:gd name="connsiteX6" fmla="*/ 47998 w 52112"/>
                <a:gd name="connsiteY6" fmla="*/ 26056 h 56226"/>
                <a:gd name="connsiteX7" fmla="*/ 28800 w 52112"/>
                <a:gd name="connsiteY7" fmla="*/ 4114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12" h="56226">
                  <a:moveTo>
                    <a:pt x="28800" y="4114"/>
                  </a:moveTo>
                  <a:cubicBezTo>
                    <a:pt x="23314" y="-1371"/>
                    <a:pt x="12342" y="-1371"/>
                    <a:pt x="4114" y="4114"/>
                  </a:cubicBezTo>
                  <a:cubicBezTo>
                    <a:pt x="-1371" y="9600"/>
                    <a:pt x="-1371" y="20571"/>
                    <a:pt x="4114" y="28799"/>
                  </a:cubicBezTo>
                  <a:lnTo>
                    <a:pt x="26056" y="50741"/>
                  </a:lnTo>
                  <a:cubicBezTo>
                    <a:pt x="28800" y="53484"/>
                    <a:pt x="34284" y="56227"/>
                    <a:pt x="37028" y="56227"/>
                  </a:cubicBezTo>
                  <a:cubicBezTo>
                    <a:pt x="42514" y="56227"/>
                    <a:pt x="45256" y="53484"/>
                    <a:pt x="47998" y="50741"/>
                  </a:cubicBezTo>
                  <a:cubicBezTo>
                    <a:pt x="53484" y="45256"/>
                    <a:pt x="53484" y="34285"/>
                    <a:pt x="47998" y="26056"/>
                  </a:cubicBezTo>
                  <a:lnTo>
                    <a:pt x="28800" y="411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9458C0D4-4328-EA26-FE75-3FA33442E207}"/>
                </a:ext>
              </a:extLst>
            </p:cNvPr>
            <p:cNvSpPr/>
            <p:nvPr/>
          </p:nvSpPr>
          <p:spPr>
            <a:xfrm>
              <a:off x="6959845" y="719456"/>
              <a:ext cx="54854" cy="56226"/>
            </a:xfrm>
            <a:custGeom>
              <a:avLst/>
              <a:gdLst>
                <a:gd name="connsiteX0" fmla="*/ 17828 w 54854"/>
                <a:gd name="connsiteY0" fmla="*/ 56227 h 56226"/>
                <a:gd name="connsiteX1" fmla="*/ 28798 w 54854"/>
                <a:gd name="connsiteY1" fmla="*/ 50741 h 56226"/>
                <a:gd name="connsiteX2" fmla="*/ 50740 w 54854"/>
                <a:gd name="connsiteY2" fmla="*/ 28799 h 56226"/>
                <a:gd name="connsiteX3" fmla="*/ 50740 w 54854"/>
                <a:gd name="connsiteY3" fmla="*/ 4114 h 56226"/>
                <a:gd name="connsiteX4" fmla="*/ 26056 w 54854"/>
                <a:gd name="connsiteY4" fmla="*/ 4114 h 56226"/>
                <a:gd name="connsiteX5" fmla="*/ 4114 w 54854"/>
                <a:gd name="connsiteY5" fmla="*/ 26056 h 56226"/>
                <a:gd name="connsiteX6" fmla="*/ 4114 w 54854"/>
                <a:gd name="connsiteY6" fmla="*/ 50741 h 56226"/>
                <a:gd name="connsiteX7" fmla="*/ 17828 w 54854"/>
                <a:gd name="connsiteY7" fmla="*/ 56227 h 56226"/>
                <a:gd name="connsiteX8" fmla="*/ 17828 w 54854"/>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4" h="56226">
                  <a:moveTo>
                    <a:pt x="17828" y="56227"/>
                  </a:moveTo>
                  <a:cubicBezTo>
                    <a:pt x="23312" y="56227"/>
                    <a:pt x="26056" y="53484"/>
                    <a:pt x="28798" y="50741"/>
                  </a:cubicBezTo>
                  <a:lnTo>
                    <a:pt x="50740" y="28799"/>
                  </a:lnTo>
                  <a:cubicBezTo>
                    <a:pt x="56226" y="23314"/>
                    <a:pt x="56226" y="12342"/>
                    <a:pt x="50740" y="4114"/>
                  </a:cubicBezTo>
                  <a:cubicBezTo>
                    <a:pt x="45256" y="-1371"/>
                    <a:pt x="34284" y="-1371"/>
                    <a:pt x="26056" y="4114"/>
                  </a:cubicBezTo>
                  <a:lnTo>
                    <a:pt x="4114" y="26056"/>
                  </a:lnTo>
                  <a:cubicBezTo>
                    <a:pt x="-1371" y="31542"/>
                    <a:pt x="-1371" y="42513"/>
                    <a:pt x="4114" y="50741"/>
                  </a:cubicBezTo>
                  <a:cubicBezTo>
                    <a:pt x="9599" y="56227"/>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97357C91-B5CD-9AEF-ADF4-D1351707F9C7}"/>
                </a:ext>
              </a:extLst>
            </p:cNvPr>
            <p:cNvSpPr/>
            <p:nvPr/>
          </p:nvSpPr>
          <p:spPr>
            <a:xfrm>
              <a:off x="7278006" y="401296"/>
              <a:ext cx="54856" cy="56226"/>
            </a:xfrm>
            <a:custGeom>
              <a:avLst/>
              <a:gdLst>
                <a:gd name="connsiteX0" fmla="*/ 17828 w 54856"/>
                <a:gd name="connsiteY0" fmla="*/ 56227 h 56226"/>
                <a:gd name="connsiteX1" fmla="*/ 28800 w 54856"/>
                <a:gd name="connsiteY1" fmla="*/ 50741 h 56226"/>
                <a:gd name="connsiteX2" fmla="*/ 50742 w 54856"/>
                <a:gd name="connsiteY2" fmla="*/ 28799 h 56226"/>
                <a:gd name="connsiteX3" fmla="*/ 50742 w 54856"/>
                <a:gd name="connsiteY3" fmla="*/ 4114 h 56226"/>
                <a:gd name="connsiteX4" fmla="*/ 26056 w 54856"/>
                <a:gd name="connsiteY4" fmla="*/ 4114 h 56226"/>
                <a:gd name="connsiteX5" fmla="*/ 4114 w 54856"/>
                <a:gd name="connsiteY5" fmla="*/ 26056 h 56226"/>
                <a:gd name="connsiteX6" fmla="*/ 4114 w 54856"/>
                <a:gd name="connsiteY6" fmla="*/ 50741 h 56226"/>
                <a:gd name="connsiteX7" fmla="*/ 17828 w 54856"/>
                <a:gd name="connsiteY7" fmla="*/ 56227 h 56226"/>
                <a:gd name="connsiteX8" fmla="*/ 17828 w 54856"/>
                <a:gd name="connsiteY8" fmla="*/ 56227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856" h="56226">
                  <a:moveTo>
                    <a:pt x="17828" y="56227"/>
                  </a:moveTo>
                  <a:cubicBezTo>
                    <a:pt x="23314" y="56227"/>
                    <a:pt x="26056" y="53484"/>
                    <a:pt x="28800" y="50741"/>
                  </a:cubicBezTo>
                  <a:lnTo>
                    <a:pt x="50742" y="28799"/>
                  </a:lnTo>
                  <a:cubicBezTo>
                    <a:pt x="56228" y="23314"/>
                    <a:pt x="56228" y="12342"/>
                    <a:pt x="50742" y="4114"/>
                  </a:cubicBezTo>
                  <a:cubicBezTo>
                    <a:pt x="45256" y="-1371"/>
                    <a:pt x="34284" y="-1371"/>
                    <a:pt x="26056" y="4114"/>
                  </a:cubicBezTo>
                  <a:lnTo>
                    <a:pt x="4114" y="26056"/>
                  </a:lnTo>
                  <a:cubicBezTo>
                    <a:pt x="-1371" y="31542"/>
                    <a:pt x="-1371" y="42513"/>
                    <a:pt x="4114" y="50741"/>
                  </a:cubicBezTo>
                  <a:cubicBezTo>
                    <a:pt x="9600" y="53484"/>
                    <a:pt x="12342" y="56227"/>
                    <a:pt x="17828" y="56227"/>
                  </a:cubicBezTo>
                  <a:lnTo>
                    <a:pt x="17828" y="56227"/>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8A12F681-0540-6C38-2632-A78F27B32228}"/>
                </a:ext>
              </a:extLst>
            </p:cNvPr>
            <p:cNvSpPr/>
            <p:nvPr/>
          </p:nvSpPr>
          <p:spPr>
            <a:xfrm>
              <a:off x="7131268" y="331356"/>
              <a:ext cx="32913" cy="65826"/>
            </a:xfrm>
            <a:custGeom>
              <a:avLst/>
              <a:gdLst>
                <a:gd name="connsiteX0" fmla="*/ 16456 w 32913"/>
                <a:gd name="connsiteY0" fmla="*/ 65826 h 65826"/>
                <a:gd name="connsiteX1" fmla="*/ 32914 w 32913"/>
                <a:gd name="connsiteY1" fmla="*/ 49370 h 65826"/>
                <a:gd name="connsiteX2" fmla="*/ 32914 w 32913"/>
                <a:gd name="connsiteY2" fmla="*/ 16457 h 65826"/>
                <a:gd name="connsiteX3" fmla="*/ 16456 w 32913"/>
                <a:gd name="connsiteY3" fmla="*/ 0 h 65826"/>
                <a:gd name="connsiteX4" fmla="*/ 0 w 32913"/>
                <a:gd name="connsiteY4" fmla="*/ 16457 h 65826"/>
                <a:gd name="connsiteX5" fmla="*/ 0 w 32913"/>
                <a:gd name="connsiteY5" fmla="*/ 49370 h 65826"/>
                <a:gd name="connsiteX6" fmla="*/ 16456 w 32913"/>
                <a:gd name="connsiteY6" fmla="*/ 65826 h 65826"/>
                <a:gd name="connsiteX7" fmla="*/ 16456 w 32913"/>
                <a:gd name="connsiteY7" fmla="*/ 65826 h 6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3" h="65826">
                  <a:moveTo>
                    <a:pt x="16456" y="65826"/>
                  </a:moveTo>
                  <a:cubicBezTo>
                    <a:pt x="24686" y="65826"/>
                    <a:pt x="32914" y="57598"/>
                    <a:pt x="32914" y="49370"/>
                  </a:cubicBezTo>
                  <a:lnTo>
                    <a:pt x="32914" y="16457"/>
                  </a:lnTo>
                  <a:cubicBezTo>
                    <a:pt x="32914" y="8228"/>
                    <a:pt x="24686" y="0"/>
                    <a:pt x="16456" y="0"/>
                  </a:cubicBezTo>
                  <a:cubicBezTo>
                    <a:pt x="8228" y="0"/>
                    <a:pt x="0" y="8228"/>
                    <a:pt x="0" y="16457"/>
                  </a:cubicBezTo>
                  <a:lnTo>
                    <a:pt x="0" y="49370"/>
                  </a:lnTo>
                  <a:cubicBezTo>
                    <a:pt x="0" y="57598"/>
                    <a:pt x="8228" y="65826"/>
                    <a:pt x="16456" y="65826"/>
                  </a:cubicBezTo>
                  <a:lnTo>
                    <a:pt x="16456" y="65826"/>
                  </a:lnTo>
                  <a:close/>
                </a:path>
              </a:pathLst>
            </a:custGeom>
            <a:grp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2519830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D87A7D1E-D4DF-A713-6129-67A72ADE7D43}"/>
              </a:ext>
            </a:extLst>
          </p:cNvPr>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l="1817" r="1817"/>
          <a:stretch>
            <a:fillRect/>
          </a:stretch>
        </p:blipFill>
        <p:spPr/>
      </p:pic>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734714" y="642971"/>
            <a:ext cx="5002409" cy="2103475"/>
          </a:xfrm>
        </p:spPr>
        <p:txBody>
          <a:bodyPr>
            <a:normAutofit/>
          </a:bodyPr>
          <a:lstStyle/>
          <a:p>
            <a:r>
              <a:rPr lang="en-GB" dirty="0"/>
              <a:t>Ηγεσία vs. Διαχείριση</a:t>
            </a:r>
          </a:p>
        </p:txBody>
      </p:sp>
      <p:sp>
        <p:nvSpPr>
          <p:cNvPr id="28" name="Rechteck 27">
            <a:extLst>
              <a:ext uri="{FF2B5EF4-FFF2-40B4-BE49-F238E27FC236}">
                <a16:creationId xmlns:a16="http://schemas.microsoft.com/office/drawing/2014/main" id="{98670D1F-3C08-4A05-AA8F-091E4EC900BD}"/>
              </a:ext>
            </a:extLst>
          </p:cNvPr>
          <p:cNvSpPr/>
          <p:nvPr/>
        </p:nvSpPr>
        <p:spPr>
          <a:xfrm>
            <a:off x="468998" y="5918697"/>
            <a:ext cx="11723002" cy="307888"/>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Πηγή: John Kotter| YouTube: </a:t>
            </a:r>
            <a:r>
              <a:rPr lang="en-GB" sz="2200" dirty="0">
                <a:solidFill>
                  <a:srgbClr val="595959"/>
                </a:solidFill>
                <a:hlinkClick r:id="rId7">
                  <a:extLst>
                    <a:ext uri="{A12FA001-AC4F-418D-AE19-62706E023703}">
                      <ahyp:hlinkClr xmlns:ahyp="http://schemas.microsoft.com/office/drawing/2018/hyperlinkcolor" val="tx"/>
                    </a:ext>
                  </a:extLst>
                </a:hlinkClick>
              </a:rPr>
              <a:t>https://www.youtube.com/watch?v=SEfgCqnMl5E&amp;t=198s</a:t>
            </a:r>
            <a:endParaRPr lang="en-GB" sz="2200" dirty="0">
              <a:solidFill>
                <a:srgbClr val="595959"/>
              </a:solidFill>
            </a:endParaRPr>
          </a:p>
        </p:txBody>
      </p:sp>
      <p:sp>
        <p:nvSpPr>
          <p:cNvPr id="5" name="TextBox 4">
            <a:extLst>
              <a:ext uri="{FF2B5EF4-FFF2-40B4-BE49-F238E27FC236}">
                <a16:creationId xmlns:a16="http://schemas.microsoft.com/office/drawing/2014/main" id="{4BA2EA5A-F519-407D-B405-5D273E8083C7}"/>
              </a:ext>
            </a:extLst>
          </p:cNvPr>
          <p:cNvSpPr txBox="1"/>
          <p:nvPr/>
        </p:nvSpPr>
        <p:spPr>
          <a:xfrm>
            <a:off x="520617" y="3110081"/>
            <a:ext cx="3756415" cy="1785104"/>
          </a:xfrm>
          <a:prstGeom prst="rect">
            <a:avLst/>
          </a:prstGeom>
          <a:noFill/>
        </p:spPr>
        <p:txBody>
          <a:bodyPr wrap="square" rtlCol="0">
            <a:spAutoFit/>
          </a:bodyPr>
          <a:lstStyle/>
          <a:p>
            <a:pPr algn="l"/>
            <a:r>
              <a:rPr lang="en-GB" sz="2200" b="0" i="0" dirty="0">
                <a:solidFill>
                  <a:schemeClr val="bg1"/>
                </a:solidFill>
                <a:effectLst/>
                <a:highlight>
                  <a:srgbClr val="F16924"/>
                </a:highlight>
              </a:rPr>
              <a:t> ΔΕΙΤΕ</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pPr algn="l"/>
            <a:r>
              <a:rPr lang="en-GB" sz="2200" b="0" i="0" dirty="0">
                <a:solidFill>
                  <a:srgbClr val="595959"/>
                </a:solidFill>
                <a:effectLst/>
              </a:rPr>
              <a:t>Η άποψη του </a:t>
            </a:r>
            <a:r>
              <a:rPr lang="en-GB" sz="2200" b="1" i="0" dirty="0" err="1">
                <a:solidFill>
                  <a:srgbClr val="595959"/>
                </a:solidFill>
                <a:effectLst/>
              </a:rPr>
              <a:t>Dr. </a:t>
            </a:r>
            <a:r>
              <a:rPr lang="en-GB" sz="2200" b="1" i="0" dirty="0">
                <a:solidFill>
                  <a:srgbClr val="595959"/>
                </a:solidFill>
                <a:effectLst/>
              </a:rPr>
              <a:t>John Kotter </a:t>
            </a:r>
            <a:r>
              <a:rPr lang="en-GB" sz="2200" b="0" i="0" dirty="0">
                <a:solidFill>
                  <a:srgbClr val="595959"/>
                </a:solidFill>
                <a:effectLst/>
              </a:rPr>
              <a:t>σχετικά με τις βασικές διαφορές μεταξύ ηγεσίας και διοίκησης</a:t>
            </a:r>
          </a:p>
        </p:txBody>
      </p:sp>
      <p:sp>
        <p:nvSpPr>
          <p:cNvPr id="9" name="Oval 8">
            <a:extLst>
              <a:ext uri="{FF2B5EF4-FFF2-40B4-BE49-F238E27FC236}">
                <a16:creationId xmlns:a16="http://schemas.microsoft.com/office/drawing/2014/main" id="{9C635362-892D-BEDB-2ADC-F5769AF78447}"/>
              </a:ext>
            </a:extLst>
          </p:cNvPr>
          <p:cNvSpPr/>
          <p:nvPr/>
        </p:nvSpPr>
        <p:spPr>
          <a:xfrm rot="21231927">
            <a:off x="6183011" y="2833458"/>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b="1" dirty="0">
                <a:solidFill>
                  <a:schemeClr val="bg1"/>
                </a:solidFill>
              </a:rPr>
              <a:t>ΚΛΙΚ ΓΙΑ ΝΑ </a:t>
            </a:r>
            <a:r>
              <a:rPr lang="en-US" sz="2200" b="1" dirty="0">
                <a:solidFill>
                  <a:schemeClr val="bg1"/>
                </a:solidFill>
                <a:hlinkClick r:id="rId7">
                  <a:extLst>
                    <a:ext uri="{A12FA001-AC4F-418D-AE19-62706E023703}">
                      <ahyp:hlinkClr xmlns:ahyp="http://schemas.microsoft.com/office/drawing/2018/hyperlinkcolor" val="tx"/>
                    </a:ext>
                  </a:extLst>
                </a:hlinkClick>
              </a:rPr>
              <a:t>ΠΑΡΑΚΟΛΟΥΘΉΣΕΤΕ</a:t>
            </a:r>
            <a:endParaRPr lang="en-US" sz="2200" b="1" dirty="0">
              <a:solidFill>
                <a:schemeClr val="bg1"/>
              </a:solidFill>
            </a:endParaRPr>
          </a:p>
        </p:txBody>
      </p:sp>
      <p:sp>
        <p:nvSpPr>
          <p:cNvPr id="10" name="Rectangle 9">
            <a:extLst>
              <a:ext uri="{FF2B5EF4-FFF2-40B4-BE49-F238E27FC236}">
                <a16:creationId xmlns:a16="http://schemas.microsoft.com/office/drawing/2014/main" id="{1490067A-04ED-1D8C-7FF5-90ACE972BEDF}"/>
              </a:ext>
            </a:extLst>
          </p:cNvPr>
          <p:cNvSpPr/>
          <p:nvPr/>
        </p:nvSpPr>
        <p:spPr>
          <a:xfrm>
            <a:off x="734714" y="1989501"/>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123979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30578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542452"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Δεν υπάρχει συνταγή επιτυχίας για τη διαχείριση μιας εταιρείας σε κρίση. Εάν δεν υπάρχει η "μία και μοναδική" σωστή απόφαση, ο στόχος πρέπει να είναι η εξεύρεση της αρκετά καλής λύσης. Αυτό οδηγεί αναπόφευκτα στο πρόβλημα για τους μάνατζερ να πρέπει να υπηρετήσουν στο "προσκήνιο" προφανείς προσδοκίες και ανάγκες της εταιρείας και των εργαζομένων για ασφάλεια και προσανατολισμό, οι οποίες από μόνες τους δημιουργούν αρκετή πίεση.  Επιπλέον, η κρίση στην "πίσω σκηνή" απαιτεί από τους διευθυντές να αντιμετωπίσουν αντιφάσεις, αβεβαιότητες, διλήμματα και προσωπικές επιθυμίες και φόβους.</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72001" y="344177"/>
            <a:ext cx="2977338"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solidFill>
                  <a:schemeClr val="bg1"/>
                </a:solidFill>
              </a:rPr>
              <a:t>Ηγεσία στην κρίση - Ανθεκτικότητα αντί για αποτελεσματικότητα</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077450" y="1568177"/>
            <a:ext cx="248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Shape 24605">
            <a:extLst>
              <a:ext uri="{FF2B5EF4-FFF2-40B4-BE49-F238E27FC236}">
                <a16:creationId xmlns:a16="http://schemas.microsoft.com/office/drawing/2014/main" id="{79653D1F-8424-FEFE-4627-13492D8AC69F}"/>
              </a:ext>
            </a:extLst>
          </p:cNvPr>
          <p:cNvSpPr/>
          <p:nvPr/>
        </p:nvSpPr>
        <p:spPr>
          <a:xfrm>
            <a:off x="4318070" y="5882127"/>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 name="Shape 24606">
            <a:extLst>
              <a:ext uri="{FF2B5EF4-FFF2-40B4-BE49-F238E27FC236}">
                <a16:creationId xmlns:a16="http://schemas.microsoft.com/office/drawing/2014/main" id="{D5922071-A0A7-588F-8389-463EA2AA900B}"/>
              </a:ext>
            </a:extLst>
          </p:cNvPr>
          <p:cNvSpPr/>
          <p:nvPr/>
        </p:nvSpPr>
        <p:spPr>
          <a:xfrm rot="1560000">
            <a:off x="4455465" y="4620095"/>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 name="Shape 24607">
            <a:extLst>
              <a:ext uri="{FF2B5EF4-FFF2-40B4-BE49-F238E27FC236}">
                <a16:creationId xmlns:a16="http://schemas.microsoft.com/office/drawing/2014/main" id="{D81137A5-620B-30E4-5B1D-862665569BA3}"/>
              </a:ext>
            </a:extLst>
          </p:cNvPr>
          <p:cNvSpPr/>
          <p:nvPr/>
        </p:nvSpPr>
        <p:spPr>
          <a:xfrm rot="1560000">
            <a:off x="4898757" y="453790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 name="Shape 24608">
            <a:extLst>
              <a:ext uri="{FF2B5EF4-FFF2-40B4-BE49-F238E27FC236}">
                <a16:creationId xmlns:a16="http://schemas.microsoft.com/office/drawing/2014/main" id="{C2F04A93-003C-0008-FCD5-31FEE66AE3C0}"/>
              </a:ext>
            </a:extLst>
          </p:cNvPr>
          <p:cNvSpPr/>
          <p:nvPr/>
        </p:nvSpPr>
        <p:spPr>
          <a:xfrm rot="1560000">
            <a:off x="4941943" y="4546480"/>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 name="Shape 24605">
            <a:extLst>
              <a:ext uri="{FF2B5EF4-FFF2-40B4-BE49-F238E27FC236}">
                <a16:creationId xmlns:a16="http://schemas.microsoft.com/office/drawing/2014/main" id="{C3E78A03-5E65-1118-259D-2EFBFFE1CC4C}"/>
              </a:ext>
            </a:extLst>
          </p:cNvPr>
          <p:cNvSpPr/>
          <p:nvPr/>
        </p:nvSpPr>
        <p:spPr>
          <a:xfrm>
            <a:off x="5224709" y="591270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 name="Shape 24606">
            <a:extLst>
              <a:ext uri="{FF2B5EF4-FFF2-40B4-BE49-F238E27FC236}">
                <a16:creationId xmlns:a16="http://schemas.microsoft.com/office/drawing/2014/main" id="{A845EB47-81D6-2367-DD2D-7205B68C022E}"/>
              </a:ext>
            </a:extLst>
          </p:cNvPr>
          <p:cNvSpPr/>
          <p:nvPr/>
        </p:nvSpPr>
        <p:spPr>
          <a:xfrm rot="1560000">
            <a:off x="5362103" y="465067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8" name="Shape 24607">
            <a:extLst>
              <a:ext uri="{FF2B5EF4-FFF2-40B4-BE49-F238E27FC236}">
                <a16:creationId xmlns:a16="http://schemas.microsoft.com/office/drawing/2014/main" id="{74EED13D-6856-FDF3-4B2C-79E0822CC915}"/>
              </a:ext>
            </a:extLst>
          </p:cNvPr>
          <p:cNvSpPr/>
          <p:nvPr/>
        </p:nvSpPr>
        <p:spPr>
          <a:xfrm rot="1560000">
            <a:off x="5805395" y="4568488"/>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 name="Shape 24608">
            <a:extLst>
              <a:ext uri="{FF2B5EF4-FFF2-40B4-BE49-F238E27FC236}">
                <a16:creationId xmlns:a16="http://schemas.microsoft.com/office/drawing/2014/main" id="{83C3FF9D-19E6-F507-A412-49717B7B608F}"/>
              </a:ext>
            </a:extLst>
          </p:cNvPr>
          <p:cNvSpPr/>
          <p:nvPr/>
        </p:nvSpPr>
        <p:spPr>
          <a:xfrm rot="1560000">
            <a:off x="5848581" y="457706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0" name="Shape 24581">
            <a:extLst>
              <a:ext uri="{FF2B5EF4-FFF2-40B4-BE49-F238E27FC236}">
                <a16:creationId xmlns:a16="http://schemas.microsoft.com/office/drawing/2014/main" id="{4B769672-512C-BCDE-BD72-8B5845A2E4B9}"/>
              </a:ext>
            </a:extLst>
          </p:cNvPr>
          <p:cNvSpPr/>
          <p:nvPr/>
        </p:nvSpPr>
        <p:spPr>
          <a:xfrm>
            <a:off x="8793993"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 name="Shape 24582">
            <a:extLst>
              <a:ext uri="{FF2B5EF4-FFF2-40B4-BE49-F238E27FC236}">
                <a16:creationId xmlns:a16="http://schemas.microsoft.com/office/drawing/2014/main" id="{40DEE60E-9C75-3651-3EF5-97B54C712673}"/>
              </a:ext>
            </a:extLst>
          </p:cNvPr>
          <p:cNvSpPr/>
          <p:nvPr/>
        </p:nvSpPr>
        <p:spPr>
          <a:xfrm>
            <a:off x="8821848" y="4648372"/>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2" name="Shape 24583">
            <a:extLst>
              <a:ext uri="{FF2B5EF4-FFF2-40B4-BE49-F238E27FC236}">
                <a16:creationId xmlns:a16="http://schemas.microsoft.com/office/drawing/2014/main" id="{98060724-580C-6079-5D89-2A52447F327E}"/>
              </a:ext>
            </a:extLst>
          </p:cNvPr>
          <p:cNvSpPr/>
          <p:nvPr/>
        </p:nvSpPr>
        <p:spPr>
          <a:xfrm>
            <a:off x="8813079"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24584">
            <a:extLst>
              <a:ext uri="{FF2B5EF4-FFF2-40B4-BE49-F238E27FC236}">
                <a16:creationId xmlns:a16="http://schemas.microsoft.com/office/drawing/2014/main" id="{41830227-B52E-9E4A-C3D8-D3E40899776C}"/>
              </a:ext>
            </a:extLst>
          </p:cNvPr>
          <p:cNvSpPr/>
          <p:nvPr/>
        </p:nvSpPr>
        <p:spPr>
          <a:xfrm>
            <a:off x="929040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4" name="Shape 24593">
            <a:extLst>
              <a:ext uri="{FF2B5EF4-FFF2-40B4-BE49-F238E27FC236}">
                <a16:creationId xmlns:a16="http://schemas.microsoft.com/office/drawing/2014/main" id="{E7DD5A71-A84D-D9C0-6820-C93BDDCCA920}"/>
              </a:ext>
            </a:extLst>
          </p:cNvPr>
          <p:cNvSpPr/>
          <p:nvPr/>
        </p:nvSpPr>
        <p:spPr>
          <a:xfrm>
            <a:off x="975145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id="{C5E103D1-8B56-F02A-CC05-257061D34D88}"/>
              </a:ext>
            </a:extLst>
          </p:cNvPr>
          <p:cNvSpPr/>
          <p:nvPr/>
        </p:nvSpPr>
        <p:spPr>
          <a:xfrm>
            <a:off x="9779315"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id="{A592BD3B-8F8F-2B94-026F-0858B41067AE}"/>
              </a:ext>
            </a:extLst>
          </p:cNvPr>
          <p:cNvSpPr/>
          <p:nvPr/>
        </p:nvSpPr>
        <p:spPr>
          <a:xfrm>
            <a:off x="9770548" y="4430193"/>
            <a:ext cx="714267" cy="233653"/>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596">
            <a:extLst>
              <a:ext uri="{FF2B5EF4-FFF2-40B4-BE49-F238E27FC236}">
                <a16:creationId xmlns:a16="http://schemas.microsoft.com/office/drawing/2014/main" id="{84B81534-838E-D7E0-07FA-4B5B77A2CFA9}"/>
              </a:ext>
            </a:extLst>
          </p:cNvPr>
          <p:cNvSpPr/>
          <p:nvPr/>
        </p:nvSpPr>
        <p:spPr>
          <a:xfrm>
            <a:off x="10247878"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6" name="Shape 24605">
            <a:extLst>
              <a:ext uri="{FF2B5EF4-FFF2-40B4-BE49-F238E27FC236}">
                <a16:creationId xmlns:a16="http://schemas.microsoft.com/office/drawing/2014/main" id="{45F999A2-E2B7-5703-A09B-503873C09918}"/>
              </a:ext>
            </a:extLst>
          </p:cNvPr>
          <p:cNvSpPr/>
          <p:nvPr/>
        </p:nvSpPr>
        <p:spPr>
          <a:xfrm>
            <a:off x="6136450" y="5895328"/>
            <a:ext cx="1591130" cy="645532"/>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06">
            <a:extLst>
              <a:ext uri="{FF2B5EF4-FFF2-40B4-BE49-F238E27FC236}">
                <a16:creationId xmlns:a16="http://schemas.microsoft.com/office/drawing/2014/main" id="{2DA730C7-DF7D-97F9-A682-42D1DDA4E316}"/>
              </a:ext>
            </a:extLst>
          </p:cNvPr>
          <p:cNvSpPr/>
          <p:nvPr/>
        </p:nvSpPr>
        <p:spPr>
          <a:xfrm rot="1560000">
            <a:off x="6273844" y="4633296"/>
            <a:ext cx="477164" cy="1872208"/>
          </a:xfrm>
          <a:prstGeom prst="rect">
            <a:avLst/>
          </a:prstGeom>
          <a:solidFill>
            <a:srgbClr val="EDA13E"/>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6" name="Shape 24607">
            <a:extLst>
              <a:ext uri="{FF2B5EF4-FFF2-40B4-BE49-F238E27FC236}">
                <a16:creationId xmlns:a16="http://schemas.microsoft.com/office/drawing/2014/main" id="{52FF6AB0-5946-5B1D-3CF2-A650DB5DDAED}"/>
              </a:ext>
            </a:extLst>
          </p:cNvPr>
          <p:cNvSpPr/>
          <p:nvPr/>
        </p:nvSpPr>
        <p:spPr>
          <a:xfrm rot="1560000">
            <a:off x="6717136" y="4551109"/>
            <a:ext cx="715973"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7" name="Shape 24608">
            <a:extLst>
              <a:ext uri="{FF2B5EF4-FFF2-40B4-BE49-F238E27FC236}">
                <a16:creationId xmlns:a16="http://schemas.microsoft.com/office/drawing/2014/main" id="{73A526BA-9B5C-3D1E-BE29-2F2FA44FFBC7}"/>
              </a:ext>
            </a:extLst>
          </p:cNvPr>
          <p:cNvSpPr/>
          <p:nvPr/>
        </p:nvSpPr>
        <p:spPr>
          <a:xfrm rot="1560000">
            <a:off x="6760323" y="4559681"/>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8" name="Shape 24617">
            <a:extLst>
              <a:ext uri="{FF2B5EF4-FFF2-40B4-BE49-F238E27FC236}">
                <a16:creationId xmlns:a16="http://schemas.microsoft.com/office/drawing/2014/main" id="{4F09560F-A34E-85A0-666C-C31B0D93DCEC}"/>
              </a:ext>
            </a:extLst>
          </p:cNvPr>
          <p:cNvSpPr/>
          <p:nvPr/>
        </p:nvSpPr>
        <p:spPr>
          <a:xfrm>
            <a:off x="7546179" y="5898167"/>
            <a:ext cx="1243424" cy="645532"/>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18">
            <a:extLst>
              <a:ext uri="{FF2B5EF4-FFF2-40B4-BE49-F238E27FC236}">
                <a16:creationId xmlns:a16="http://schemas.microsoft.com/office/drawing/2014/main" id="{7D298130-890F-37E2-15DA-7B1721BC5001}"/>
              </a:ext>
            </a:extLst>
          </p:cNvPr>
          <p:cNvSpPr/>
          <p:nvPr/>
        </p:nvSpPr>
        <p:spPr>
          <a:xfrm>
            <a:off x="7574034" y="4647938"/>
            <a:ext cx="477164" cy="1872208"/>
          </a:xfrm>
          <a:prstGeom prst="rect">
            <a:avLst/>
          </a:prstGeom>
          <a:solidFill>
            <a:srgbClr val="B41F7A"/>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0" name="Shape 24619">
            <a:extLst>
              <a:ext uri="{FF2B5EF4-FFF2-40B4-BE49-F238E27FC236}">
                <a16:creationId xmlns:a16="http://schemas.microsoft.com/office/drawing/2014/main" id="{6E54CFFC-4095-9253-F80C-A088FC6BFBA8}"/>
              </a:ext>
            </a:extLst>
          </p:cNvPr>
          <p:cNvSpPr/>
          <p:nvPr/>
        </p:nvSpPr>
        <p:spPr>
          <a:xfrm>
            <a:off x="7565205" y="4430193"/>
            <a:ext cx="715972" cy="233653"/>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1" name="Shape 24620">
            <a:extLst>
              <a:ext uri="{FF2B5EF4-FFF2-40B4-BE49-F238E27FC236}">
                <a16:creationId xmlns:a16="http://schemas.microsoft.com/office/drawing/2014/main" id="{B601AF25-C8AA-D377-8820-8967B72139FF}"/>
              </a:ext>
            </a:extLst>
          </p:cNvPr>
          <p:cNvSpPr/>
          <p:nvPr/>
        </p:nvSpPr>
        <p:spPr>
          <a:xfrm>
            <a:off x="8042594" y="4408916"/>
            <a:ext cx="238582" cy="2107234"/>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77" name="TextBox 60">
            <a:extLst>
              <a:ext uri="{FF2B5EF4-FFF2-40B4-BE49-F238E27FC236}">
                <a16:creationId xmlns:a16="http://schemas.microsoft.com/office/drawing/2014/main" id="{2AEA4A5D-822C-60ED-5F2D-3FCBCF9F2853}"/>
              </a:ext>
            </a:extLst>
          </p:cNvPr>
          <p:cNvSpPr txBox="1"/>
          <p:nvPr/>
        </p:nvSpPr>
        <p:spPr>
          <a:xfrm rot="16200000">
            <a:off x="6938495" y="5424036"/>
            <a:ext cx="1756120" cy="400110"/>
          </a:xfrm>
          <a:prstGeom prst="rect">
            <a:avLst/>
          </a:prstGeom>
          <a:noFill/>
        </p:spPr>
        <p:txBody>
          <a:bodyPr wrap="square" rtlCol="0" anchor="b" anchorCtr="0">
            <a:spAutoFit/>
          </a:bodyPr>
          <a:lstStyle/>
          <a:p>
            <a:pPr algn="ctr"/>
            <a:r>
              <a:rPr lang="en-GB" sz="2000" b="1" dirty="0">
                <a:solidFill>
                  <a:schemeClr val="bg1"/>
                </a:solidFill>
                <a:ea typeface="League Spartan" charset="0"/>
                <a:cs typeface="Poppins SemiBold" pitchFamily="2" charset="77"/>
              </a:rPr>
              <a:t>ΗΓΕΣΙΑ</a:t>
            </a:r>
          </a:p>
        </p:txBody>
      </p:sp>
      <p:grpSp>
        <p:nvGrpSpPr>
          <p:cNvPr id="79" name="Group 78">
            <a:extLst>
              <a:ext uri="{FF2B5EF4-FFF2-40B4-BE49-F238E27FC236}">
                <a16:creationId xmlns:a16="http://schemas.microsoft.com/office/drawing/2014/main" id="{F2225E74-FAE1-E3D0-1627-A3CD44F20396}"/>
              </a:ext>
            </a:extLst>
          </p:cNvPr>
          <p:cNvGrpSpPr/>
          <p:nvPr/>
        </p:nvGrpSpPr>
        <p:grpSpPr>
          <a:xfrm>
            <a:off x="7465935" y="3295236"/>
            <a:ext cx="925001" cy="925018"/>
            <a:chOff x="8736336" y="773976"/>
            <a:chExt cx="925001" cy="925018"/>
          </a:xfrm>
          <a:solidFill>
            <a:srgbClr val="595959"/>
          </a:solidFill>
        </p:grpSpPr>
        <p:grpSp>
          <p:nvGrpSpPr>
            <p:cNvPr id="80" name="Graphic 2">
              <a:extLst>
                <a:ext uri="{FF2B5EF4-FFF2-40B4-BE49-F238E27FC236}">
                  <a16:creationId xmlns:a16="http://schemas.microsoft.com/office/drawing/2014/main" id="{20747221-99D5-B1FC-9275-7B5B79226E52}"/>
                </a:ext>
              </a:extLst>
            </p:cNvPr>
            <p:cNvGrpSpPr/>
            <p:nvPr/>
          </p:nvGrpSpPr>
          <p:grpSpPr>
            <a:xfrm>
              <a:off x="8736336" y="773976"/>
              <a:ext cx="925001" cy="925018"/>
              <a:chOff x="8736336" y="773976"/>
              <a:chExt cx="925001" cy="925018"/>
            </a:xfrm>
            <a:grpFill/>
          </p:grpSpPr>
          <p:sp>
            <p:nvSpPr>
              <p:cNvPr id="83" name="Freeform 82">
                <a:extLst>
                  <a:ext uri="{FF2B5EF4-FFF2-40B4-BE49-F238E27FC236}">
                    <a16:creationId xmlns:a16="http://schemas.microsoft.com/office/drawing/2014/main" id="{CFB2EAC2-3F29-C9FA-FB8E-4B0DEB853EC0}"/>
                  </a:ext>
                </a:extLst>
              </p:cNvPr>
              <p:cNvSpPr/>
              <p:nvPr/>
            </p:nvSpPr>
            <p:spPr>
              <a:xfrm>
                <a:off x="8880867" y="773976"/>
                <a:ext cx="636011" cy="925018"/>
              </a:xfrm>
              <a:custGeom>
                <a:avLst/>
                <a:gdLst>
                  <a:gd name="connsiteX0" fmla="*/ 547413 w 636011"/>
                  <a:gd name="connsiteY0" fmla="*/ 538397 h 925018"/>
                  <a:gd name="connsiteX1" fmla="*/ 635939 w 636011"/>
                  <a:gd name="connsiteY1" fmla="*/ 312566 h 925018"/>
                  <a:gd name="connsiteX2" fmla="*/ 314356 w 636011"/>
                  <a:gd name="connsiteY2" fmla="*/ 17 h 925018"/>
                  <a:gd name="connsiteX3" fmla="*/ 0 w 636011"/>
                  <a:gd name="connsiteY3" fmla="*/ 317987 h 925018"/>
                  <a:gd name="connsiteX4" fmla="*/ 88526 w 636011"/>
                  <a:gd name="connsiteY4" fmla="*/ 537494 h 925018"/>
                  <a:gd name="connsiteX5" fmla="*/ 143628 w 636011"/>
                  <a:gd name="connsiteY5" fmla="*/ 655828 h 925018"/>
                  <a:gd name="connsiteX6" fmla="*/ 130982 w 636011"/>
                  <a:gd name="connsiteY6" fmla="*/ 737127 h 925018"/>
                  <a:gd name="connsiteX7" fmla="*/ 161695 w 636011"/>
                  <a:gd name="connsiteY7" fmla="*/ 823847 h 925018"/>
                  <a:gd name="connsiteX8" fmla="*/ 289967 w 636011"/>
                  <a:gd name="connsiteY8" fmla="*/ 925018 h 925018"/>
                  <a:gd name="connsiteX9" fmla="*/ 345973 w 636011"/>
                  <a:gd name="connsiteY9" fmla="*/ 925018 h 925018"/>
                  <a:gd name="connsiteX10" fmla="*/ 474244 w 636011"/>
                  <a:gd name="connsiteY10" fmla="*/ 823847 h 925018"/>
                  <a:gd name="connsiteX11" fmla="*/ 504957 w 636011"/>
                  <a:gd name="connsiteY11" fmla="*/ 737127 h 925018"/>
                  <a:gd name="connsiteX12" fmla="*/ 492310 w 636011"/>
                  <a:gd name="connsiteY12" fmla="*/ 655828 h 925018"/>
                  <a:gd name="connsiteX13" fmla="*/ 547413 w 636011"/>
                  <a:gd name="connsiteY13" fmla="*/ 538397 h 925018"/>
                  <a:gd name="connsiteX14" fmla="*/ 547413 w 636011"/>
                  <a:gd name="connsiteY14" fmla="*/ 538397 h 925018"/>
                  <a:gd name="connsiteX15" fmla="*/ 109302 w 636011"/>
                  <a:gd name="connsiteY15" fmla="*/ 517620 h 925018"/>
                  <a:gd name="connsiteX16" fmla="*/ 28906 w 636011"/>
                  <a:gd name="connsiteY16" fmla="*/ 317987 h 925018"/>
                  <a:gd name="connsiteX17" fmla="*/ 314356 w 636011"/>
                  <a:gd name="connsiteY17" fmla="*/ 28923 h 925018"/>
                  <a:gd name="connsiteX18" fmla="*/ 607032 w 636011"/>
                  <a:gd name="connsiteY18" fmla="*/ 313470 h 925018"/>
                  <a:gd name="connsiteX19" fmla="*/ 526637 w 636011"/>
                  <a:gd name="connsiteY19" fmla="*/ 518523 h 925018"/>
                  <a:gd name="connsiteX20" fmla="*/ 464307 w 636011"/>
                  <a:gd name="connsiteY20" fmla="*/ 650409 h 925018"/>
                  <a:gd name="connsiteX21" fmla="*/ 332423 w 636011"/>
                  <a:gd name="connsiteY21" fmla="*/ 650409 h 925018"/>
                  <a:gd name="connsiteX22" fmla="*/ 332423 w 636011"/>
                  <a:gd name="connsiteY22" fmla="*/ 491424 h 925018"/>
                  <a:gd name="connsiteX23" fmla="*/ 375782 w 636011"/>
                  <a:gd name="connsiteY23" fmla="*/ 491424 h 925018"/>
                  <a:gd name="connsiteX24" fmla="*/ 534766 w 636011"/>
                  <a:gd name="connsiteY24" fmla="*/ 332439 h 925018"/>
                  <a:gd name="connsiteX25" fmla="*/ 534766 w 636011"/>
                  <a:gd name="connsiteY25" fmla="*/ 289080 h 925018"/>
                  <a:gd name="connsiteX26" fmla="*/ 520314 w 636011"/>
                  <a:gd name="connsiteY26" fmla="*/ 274627 h 925018"/>
                  <a:gd name="connsiteX27" fmla="*/ 462501 w 636011"/>
                  <a:gd name="connsiteY27" fmla="*/ 274627 h 925018"/>
                  <a:gd name="connsiteX28" fmla="*/ 317969 w 636011"/>
                  <a:gd name="connsiteY28" fmla="*/ 367669 h 925018"/>
                  <a:gd name="connsiteX29" fmla="*/ 173438 w 636011"/>
                  <a:gd name="connsiteY29" fmla="*/ 274627 h 925018"/>
                  <a:gd name="connsiteX30" fmla="*/ 115626 w 636011"/>
                  <a:gd name="connsiteY30" fmla="*/ 274627 h 925018"/>
                  <a:gd name="connsiteX31" fmla="*/ 101172 w 636011"/>
                  <a:gd name="connsiteY31" fmla="*/ 289080 h 925018"/>
                  <a:gd name="connsiteX32" fmla="*/ 101172 w 636011"/>
                  <a:gd name="connsiteY32" fmla="*/ 332439 h 925018"/>
                  <a:gd name="connsiteX33" fmla="*/ 260157 w 636011"/>
                  <a:gd name="connsiteY33" fmla="*/ 491424 h 925018"/>
                  <a:gd name="connsiteX34" fmla="*/ 303516 w 636011"/>
                  <a:gd name="connsiteY34" fmla="*/ 491424 h 925018"/>
                  <a:gd name="connsiteX35" fmla="*/ 303516 w 636011"/>
                  <a:gd name="connsiteY35" fmla="*/ 650409 h 925018"/>
                  <a:gd name="connsiteX36" fmla="*/ 171631 w 636011"/>
                  <a:gd name="connsiteY36" fmla="*/ 650409 h 925018"/>
                  <a:gd name="connsiteX37" fmla="*/ 109302 w 636011"/>
                  <a:gd name="connsiteY37" fmla="*/ 517620 h 925018"/>
                  <a:gd name="connsiteX38" fmla="*/ 444434 w 636011"/>
                  <a:gd name="connsiteY38" fmla="*/ 366766 h 925018"/>
                  <a:gd name="connsiteX39" fmla="*/ 423658 w 636011"/>
                  <a:gd name="connsiteY39" fmla="*/ 364959 h 925018"/>
                  <a:gd name="connsiteX40" fmla="*/ 332423 w 636011"/>
                  <a:gd name="connsiteY40" fmla="*/ 445355 h 925018"/>
                  <a:gd name="connsiteX41" fmla="*/ 332423 w 636011"/>
                  <a:gd name="connsiteY41" fmla="*/ 433612 h 925018"/>
                  <a:gd name="connsiteX42" fmla="*/ 462501 w 636011"/>
                  <a:gd name="connsiteY42" fmla="*/ 303533 h 925018"/>
                  <a:gd name="connsiteX43" fmla="*/ 505860 w 636011"/>
                  <a:gd name="connsiteY43" fmla="*/ 303533 h 925018"/>
                  <a:gd name="connsiteX44" fmla="*/ 505860 w 636011"/>
                  <a:gd name="connsiteY44" fmla="*/ 332439 h 925018"/>
                  <a:gd name="connsiteX45" fmla="*/ 375782 w 636011"/>
                  <a:gd name="connsiteY45" fmla="*/ 462518 h 925018"/>
                  <a:gd name="connsiteX46" fmla="*/ 356812 w 636011"/>
                  <a:gd name="connsiteY46" fmla="*/ 462518 h 925018"/>
                  <a:gd name="connsiteX47" fmla="*/ 443531 w 636011"/>
                  <a:gd name="connsiteY47" fmla="*/ 386639 h 925018"/>
                  <a:gd name="connsiteX48" fmla="*/ 444434 w 636011"/>
                  <a:gd name="connsiteY48" fmla="*/ 366766 h 925018"/>
                  <a:gd name="connsiteX49" fmla="*/ 303516 w 636011"/>
                  <a:gd name="connsiteY49" fmla="*/ 445355 h 925018"/>
                  <a:gd name="connsiteX50" fmla="*/ 212281 w 636011"/>
                  <a:gd name="connsiteY50" fmla="*/ 364959 h 925018"/>
                  <a:gd name="connsiteX51" fmla="*/ 191504 w 636011"/>
                  <a:gd name="connsiteY51" fmla="*/ 366766 h 925018"/>
                  <a:gd name="connsiteX52" fmla="*/ 193311 w 636011"/>
                  <a:gd name="connsiteY52" fmla="*/ 387542 h 925018"/>
                  <a:gd name="connsiteX53" fmla="*/ 280030 w 636011"/>
                  <a:gd name="connsiteY53" fmla="*/ 463421 h 925018"/>
                  <a:gd name="connsiteX54" fmla="*/ 261060 w 636011"/>
                  <a:gd name="connsiteY54" fmla="*/ 463421 h 925018"/>
                  <a:gd name="connsiteX55" fmla="*/ 130982 w 636011"/>
                  <a:gd name="connsiteY55" fmla="*/ 333343 h 925018"/>
                  <a:gd name="connsiteX56" fmla="*/ 130982 w 636011"/>
                  <a:gd name="connsiteY56" fmla="*/ 304437 h 925018"/>
                  <a:gd name="connsiteX57" fmla="*/ 174341 w 636011"/>
                  <a:gd name="connsiteY57" fmla="*/ 304437 h 925018"/>
                  <a:gd name="connsiteX58" fmla="*/ 304419 w 636011"/>
                  <a:gd name="connsiteY58" fmla="*/ 434515 h 925018"/>
                  <a:gd name="connsiteX59" fmla="*/ 304419 w 636011"/>
                  <a:gd name="connsiteY59" fmla="*/ 445355 h 925018"/>
                  <a:gd name="connsiteX60" fmla="*/ 345973 w 636011"/>
                  <a:gd name="connsiteY60" fmla="*/ 896112 h 925018"/>
                  <a:gd name="connsiteX61" fmla="*/ 289967 w 636011"/>
                  <a:gd name="connsiteY61" fmla="*/ 896112 h 925018"/>
                  <a:gd name="connsiteX62" fmla="*/ 191504 w 636011"/>
                  <a:gd name="connsiteY62" fmla="*/ 823847 h 925018"/>
                  <a:gd name="connsiteX63" fmla="*/ 444434 w 636011"/>
                  <a:gd name="connsiteY63" fmla="*/ 823847 h 925018"/>
                  <a:gd name="connsiteX64" fmla="*/ 345973 w 636011"/>
                  <a:gd name="connsiteY64" fmla="*/ 896112 h 925018"/>
                  <a:gd name="connsiteX65" fmla="*/ 345973 w 636011"/>
                  <a:gd name="connsiteY65" fmla="*/ 896112 h 925018"/>
                  <a:gd name="connsiteX66" fmla="*/ 491407 w 636011"/>
                  <a:gd name="connsiteY66" fmla="*/ 773260 h 925018"/>
                  <a:gd name="connsiteX67" fmla="*/ 469727 w 636011"/>
                  <a:gd name="connsiteY67" fmla="*/ 794940 h 925018"/>
                  <a:gd name="connsiteX68" fmla="*/ 166211 w 636011"/>
                  <a:gd name="connsiteY68" fmla="*/ 794940 h 925018"/>
                  <a:gd name="connsiteX69" fmla="*/ 144531 w 636011"/>
                  <a:gd name="connsiteY69" fmla="*/ 773260 h 925018"/>
                  <a:gd name="connsiteX70" fmla="*/ 166211 w 636011"/>
                  <a:gd name="connsiteY70" fmla="*/ 751581 h 925018"/>
                  <a:gd name="connsiteX71" fmla="*/ 469727 w 636011"/>
                  <a:gd name="connsiteY71" fmla="*/ 751581 h 925018"/>
                  <a:gd name="connsiteX72" fmla="*/ 491407 w 636011"/>
                  <a:gd name="connsiteY72" fmla="*/ 773260 h 925018"/>
                  <a:gd name="connsiteX73" fmla="*/ 166211 w 636011"/>
                  <a:gd name="connsiteY73" fmla="*/ 722674 h 925018"/>
                  <a:gd name="connsiteX74" fmla="*/ 144531 w 636011"/>
                  <a:gd name="connsiteY74" fmla="*/ 700995 h 925018"/>
                  <a:gd name="connsiteX75" fmla="*/ 166211 w 636011"/>
                  <a:gd name="connsiteY75" fmla="*/ 679315 h 925018"/>
                  <a:gd name="connsiteX76" fmla="*/ 469727 w 636011"/>
                  <a:gd name="connsiteY76" fmla="*/ 679315 h 925018"/>
                  <a:gd name="connsiteX77" fmla="*/ 491407 w 636011"/>
                  <a:gd name="connsiteY77" fmla="*/ 700995 h 925018"/>
                  <a:gd name="connsiteX78" fmla="*/ 469727 w 636011"/>
                  <a:gd name="connsiteY78" fmla="*/ 722674 h 925018"/>
                  <a:gd name="connsiteX79" fmla="*/ 166211 w 636011"/>
                  <a:gd name="connsiteY79" fmla="*/ 722674 h 92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36011" h="925018">
                    <a:moveTo>
                      <a:pt x="547413" y="538397"/>
                    </a:moveTo>
                    <a:cubicBezTo>
                      <a:pt x="606129" y="477874"/>
                      <a:pt x="637745" y="397479"/>
                      <a:pt x="635939" y="312566"/>
                    </a:cubicBezTo>
                    <a:cubicBezTo>
                      <a:pt x="633229" y="138225"/>
                      <a:pt x="488697" y="-1789"/>
                      <a:pt x="314356" y="17"/>
                    </a:cubicBezTo>
                    <a:cubicBezTo>
                      <a:pt x="140015" y="1824"/>
                      <a:pt x="0" y="143645"/>
                      <a:pt x="0" y="317987"/>
                    </a:cubicBezTo>
                    <a:cubicBezTo>
                      <a:pt x="0" y="400189"/>
                      <a:pt x="31616" y="478778"/>
                      <a:pt x="88526" y="537494"/>
                    </a:cubicBezTo>
                    <a:cubicBezTo>
                      <a:pt x="118335" y="568206"/>
                      <a:pt x="137305" y="607953"/>
                      <a:pt x="143628" y="655828"/>
                    </a:cubicBezTo>
                    <a:cubicBezTo>
                      <a:pt x="112915" y="671185"/>
                      <a:pt x="106592" y="712738"/>
                      <a:pt x="130982" y="737127"/>
                    </a:cubicBezTo>
                    <a:cubicBezTo>
                      <a:pt x="100269" y="766937"/>
                      <a:pt x="118335" y="819330"/>
                      <a:pt x="161695" y="823847"/>
                    </a:cubicBezTo>
                    <a:cubicBezTo>
                      <a:pt x="176148" y="883466"/>
                      <a:pt x="229444" y="925018"/>
                      <a:pt x="289967" y="925018"/>
                    </a:cubicBezTo>
                    <a:lnTo>
                      <a:pt x="345973" y="925018"/>
                    </a:lnTo>
                    <a:cubicBezTo>
                      <a:pt x="407398" y="925018"/>
                      <a:pt x="460694" y="883466"/>
                      <a:pt x="474244" y="823847"/>
                    </a:cubicBezTo>
                    <a:cubicBezTo>
                      <a:pt x="516700" y="820233"/>
                      <a:pt x="535670" y="766937"/>
                      <a:pt x="504957" y="737127"/>
                    </a:cubicBezTo>
                    <a:cubicBezTo>
                      <a:pt x="529347" y="712738"/>
                      <a:pt x="523023" y="671185"/>
                      <a:pt x="492310" y="655828"/>
                    </a:cubicBezTo>
                    <a:cubicBezTo>
                      <a:pt x="498634" y="608856"/>
                      <a:pt x="517604" y="569110"/>
                      <a:pt x="547413" y="538397"/>
                    </a:cubicBezTo>
                    <a:lnTo>
                      <a:pt x="547413" y="538397"/>
                    </a:lnTo>
                    <a:close/>
                    <a:moveTo>
                      <a:pt x="109302" y="517620"/>
                    </a:moveTo>
                    <a:cubicBezTo>
                      <a:pt x="57813" y="463421"/>
                      <a:pt x="28906" y="392962"/>
                      <a:pt x="28906" y="317987"/>
                    </a:cubicBezTo>
                    <a:cubicBezTo>
                      <a:pt x="28906" y="160808"/>
                      <a:pt x="157178" y="30730"/>
                      <a:pt x="314356" y="28923"/>
                    </a:cubicBezTo>
                    <a:cubicBezTo>
                      <a:pt x="473341" y="27117"/>
                      <a:pt x="604322" y="154485"/>
                      <a:pt x="607032" y="313470"/>
                    </a:cubicBezTo>
                    <a:cubicBezTo>
                      <a:pt x="607936" y="390252"/>
                      <a:pt x="579933" y="463421"/>
                      <a:pt x="526637" y="518523"/>
                    </a:cubicBezTo>
                    <a:cubicBezTo>
                      <a:pt x="493214" y="552850"/>
                      <a:pt x="470631" y="598919"/>
                      <a:pt x="464307" y="650409"/>
                    </a:cubicBezTo>
                    <a:lnTo>
                      <a:pt x="332423" y="650409"/>
                    </a:lnTo>
                    <a:lnTo>
                      <a:pt x="332423" y="491424"/>
                    </a:lnTo>
                    <a:lnTo>
                      <a:pt x="375782" y="491424"/>
                    </a:lnTo>
                    <a:cubicBezTo>
                      <a:pt x="463404" y="491424"/>
                      <a:pt x="534766" y="420062"/>
                      <a:pt x="534766" y="332439"/>
                    </a:cubicBezTo>
                    <a:lnTo>
                      <a:pt x="534766" y="289080"/>
                    </a:lnTo>
                    <a:cubicBezTo>
                      <a:pt x="534766" y="280950"/>
                      <a:pt x="528443" y="274627"/>
                      <a:pt x="520314" y="274627"/>
                    </a:cubicBezTo>
                    <a:lnTo>
                      <a:pt x="462501" y="274627"/>
                    </a:lnTo>
                    <a:cubicBezTo>
                      <a:pt x="398365" y="274627"/>
                      <a:pt x="343262" y="312566"/>
                      <a:pt x="317969" y="367669"/>
                    </a:cubicBezTo>
                    <a:cubicBezTo>
                      <a:pt x="292676" y="312566"/>
                      <a:pt x="237574" y="274627"/>
                      <a:pt x="173438" y="274627"/>
                    </a:cubicBezTo>
                    <a:lnTo>
                      <a:pt x="115626" y="274627"/>
                    </a:lnTo>
                    <a:cubicBezTo>
                      <a:pt x="107495" y="274627"/>
                      <a:pt x="101172" y="280950"/>
                      <a:pt x="101172" y="289080"/>
                    </a:cubicBezTo>
                    <a:lnTo>
                      <a:pt x="101172" y="332439"/>
                    </a:lnTo>
                    <a:cubicBezTo>
                      <a:pt x="101172" y="420062"/>
                      <a:pt x="172535" y="491424"/>
                      <a:pt x="260157" y="491424"/>
                    </a:cubicBezTo>
                    <a:lnTo>
                      <a:pt x="303516" y="491424"/>
                    </a:lnTo>
                    <a:lnTo>
                      <a:pt x="303516" y="650409"/>
                    </a:lnTo>
                    <a:lnTo>
                      <a:pt x="171631" y="650409"/>
                    </a:lnTo>
                    <a:cubicBezTo>
                      <a:pt x="165308" y="598016"/>
                      <a:pt x="142725" y="552850"/>
                      <a:pt x="109302" y="517620"/>
                    </a:cubicBezTo>
                    <a:close/>
                    <a:moveTo>
                      <a:pt x="444434" y="366766"/>
                    </a:moveTo>
                    <a:cubicBezTo>
                      <a:pt x="439015" y="360442"/>
                      <a:pt x="429981" y="360442"/>
                      <a:pt x="423658" y="364959"/>
                    </a:cubicBezTo>
                    <a:lnTo>
                      <a:pt x="332423" y="445355"/>
                    </a:lnTo>
                    <a:lnTo>
                      <a:pt x="332423" y="433612"/>
                    </a:lnTo>
                    <a:cubicBezTo>
                      <a:pt x="332423" y="362249"/>
                      <a:pt x="391139" y="303533"/>
                      <a:pt x="462501" y="303533"/>
                    </a:cubicBezTo>
                    <a:lnTo>
                      <a:pt x="505860" y="303533"/>
                    </a:lnTo>
                    <a:lnTo>
                      <a:pt x="505860" y="332439"/>
                    </a:lnTo>
                    <a:cubicBezTo>
                      <a:pt x="505860" y="403802"/>
                      <a:pt x="447144" y="462518"/>
                      <a:pt x="375782" y="462518"/>
                    </a:cubicBezTo>
                    <a:lnTo>
                      <a:pt x="356812" y="462518"/>
                    </a:lnTo>
                    <a:lnTo>
                      <a:pt x="443531" y="386639"/>
                    </a:lnTo>
                    <a:cubicBezTo>
                      <a:pt x="448951" y="381219"/>
                      <a:pt x="449855" y="372186"/>
                      <a:pt x="444434" y="366766"/>
                    </a:cubicBezTo>
                    <a:close/>
                    <a:moveTo>
                      <a:pt x="303516" y="445355"/>
                    </a:moveTo>
                    <a:lnTo>
                      <a:pt x="212281" y="364959"/>
                    </a:lnTo>
                    <a:cubicBezTo>
                      <a:pt x="205958" y="359539"/>
                      <a:pt x="196925" y="360442"/>
                      <a:pt x="191504" y="366766"/>
                    </a:cubicBezTo>
                    <a:cubicBezTo>
                      <a:pt x="186085" y="373089"/>
                      <a:pt x="186988" y="382122"/>
                      <a:pt x="193311" y="387542"/>
                    </a:cubicBezTo>
                    <a:lnTo>
                      <a:pt x="280030" y="463421"/>
                    </a:lnTo>
                    <a:lnTo>
                      <a:pt x="261060" y="463421"/>
                    </a:lnTo>
                    <a:cubicBezTo>
                      <a:pt x="189698" y="463421"/>
                      <a:pt x="130982" y="404705"/>
                      <a:pt x="130982" y="333343"/>
                    </a:cubicBezTo>
                    <a:lnTo>
                      <a:pt x="130982" y="304437"/>
                    </a:lnTo>
                    <a:lnTo>
                      <a:pt x="174341" y="304437"/>
                    </a:lnTo>
                    <a:cubicBezTo>
                      <a:pt x="245704" y="304437"/>
                      <a:pt x="304419" y="363153"/>
                      <a:pt x="304419" y="434515"/>
                    </a:cubicBezTo>
                    <a:lnTo>
                      <a:pt x="304419" y="445355"/>
                    </a:lnTo>
                    <a:close/>
                    <a:moveTo>
                      <a:pt x="345973" y="896112"/>
                    </a:moveTo>
                    <a:lnTo>
                      <a:pt x="289967" y="896112"/>
                    </a:lnTo>
                    <a:cubicBezTo>
                      <a:pt x="244800" y="896112"/>
                      <a:pt x="205054" y="866302"/>
                      <a:pt x="191504" y="823847"/>
                    </a:cubicBezTo>
                    <a:lnTo>
                      <a:pt x="444434" y="823847"/>
                    </a:lnTo>
                    <a:cubicBezTo>
                      <a:pt x="430884" y="866302"/>
                      <a:pt x="391139" y="896112"/>
                      <a:pt x="345973" y="896112"/>
                    </a:cubicBezTo>
                    <a:lnTo>
                      <a:pt x="345973" y="896112"/>
                    </a:lnTo>
                    <a:close/>
                    <a:moveTo>
                      <a:pt x="491407" y="773260"/>
                    </a:moveTo>
                    <a:cubicBezTo>
                      <a:pt x="491407" y="785003"/>
                      <a:pt x="481471" y="794940"/>
                      <a:pt x="469727" y="794940"/>
                    </a:cubicBezTo>
                    <a:cubicBezTo>
                      <a:pt x="451661" y="794940"/>
                      <a:pt x="177954" y="794940"/>
                      <a:pt x="166211" y="794940"/>
                    </a:cubicBezTo>
                    <a:cubicBezTo>
                      <a:pt x="154468" y="794940"/>
                      <a:pt x="144531" y="785003"/>
                      <a:pt x="144531" y="773260"/>
                    </a:cubicBezTo>
                    <a:cubicBezTo>
                      <a:pt x="144531" y="761517"/>
                      <a:pt x="154468" y="751581"/>
                      <a:pt x="166211" y="751581"/>
                    </a:cubicBezTo>
                    <a:lnTo>
                      <a:pt x="469727" y="751581"/>
                    </a:lnTo>
                    <a:cubicBezTo>
                      <a:pt x="482374" y="751581"/>
                      <a:pt x="491407" y="761517"/>
                      <a:pt x="491407" y="773260"/>
                    </a:cubicBezTo>
                    <a:close/>
                    <a:moveTo>
                      <a:pt x="166211" y="722674"/>
                    </a:moveTo>
                    <a:cubicBezTo>
                      <a:pt x="154468" y="722674"/>
                      <a:pt x="144531" y="712738"/>
                      <a:pt x="144531" y="700995"/>
                    </a:cubicBezTo>
                    <a:cubicBezTo>
                      <a:pt x="144531" y="689251"/>
                      <a:pt x="154468" y="679315"/>
                      <a:pt x="166211" y="679315"/>
                    </a:cubicBezTo>
                    <a:lnTo>
                      <a:pt x="469727" y="679315"/>
                    </a:lnTo>
                    <a:cubicBezTo>
                      <a:pt x="481471" y="679315"/>
                      <a:pt x="491407" y="689251"/>
                      <a:pt x="491407" y="700995"/>
                    </a:cubicBezTo>
                    <a:cubicBezTo>
                      <a:pt x="491407" y="712738"/>
                      <a:pt x="481471" y="722674"/>
                      <a:pt x="469727" y="722674"/>
                    </a:cubicBezTo>
                    <a:lnTo>
                      <a:pt x="166211" y="7226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44B0B119-4BD3-F775-7A9B-20557F0EF206}"/>
                  </a:ext>
                </a:extLst>
              </p:cNvPr>
              <p:cNvSpPr/>
              <p:nvPr/>
            </p:nvSpPr>
            <p:spPr>
              <a:xfrm>
                <a:off x="8736336" y="1077510"/>
                <a:ext cx="101172" cy="28906"/>
              </a:xfrm>
              <a:custGeom>
                <a:avLst/>
                <a:gdLst>
                  <a:gd name="connsiteX0" fmla="*/ 101172 w 101172"/>
                  <a:gd name="connsiteY0" fmla="*/ 14453 h 28906"/>
                  <a:gd name="connsiteX1" fmla="*/ 86719 w 101172"/>
                  <a:gd name="connsiteY1" fmla="*/ 0 h 28906"/>
                  <a:gd name="connsiteX2" fmla="*/ 14453 w 101172"/>
                  <a:gd name="connsiteY2" fmla="*/ 0 h 28906"/>
                  <a:gd name="connsiteX3" fmla="*/ 0 w 101172"/>
                  <a:gd name="connsiteY3" fmla="*/ 14453 h 28906"/>
                  <a:gd name="connsiteX4" fmla="*/ 14453 w 101172"/>
                  <a:gd name="connsiteY4" fmla="*/ 28906 h 28906"/>
                  <a:gd name="connsiteX5" fmla="*/ 86719 w 101172"/>
                  <a:gd name="connsiteY5" fmla="*/ 28906 h 28906"/>
                  <a:gd name="connsiteX6" fmla="*/ 101172 w 101172"/>
                  <a:gd name="connsiteY6" fmla="*/ 14453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101172" y="14453"/>
                    </a:moveTo>
                    <a:cubicBezTo>
                      <a:pt x="101172" y="6323"/>
                      <a:pt x="94849" y="0"/>
                      <a:pt x="86719" y="0"/>
                    </a:cubicBezTo>
                    <a:lnTo>
                      <a:pt x="14453" y="0"/>
                    </a:lnTo>
                    <a:cubicBezTo>
                      <a:pt x="6323" y="0"/>
                      <a:pt x="0" y="6323"/>
                      <a:pt x="0" y="14453"/>
                    </a:cubicBezTo>
                    <a:cubicBezTo>
                      <a:pt x="0" y="22583"/>
                      <a:pt x="6323" y="28906"/>
                      <a:pt x="14453" y="28906"/>
                    </a:cubicBezTo>
                    <a:lnTo>
                      <a:pt x="86719" y="28906"/>
                    </a:lnTo>
                    <a:cubicBezTo>
                      <a:pt x="94849" y="28906"/>
                      <a:pt x="101172" y="22583"/>
                      <a:pt x="101172" y="1445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5" name="Freeform 84">
                <a:extLst>
                  <a:ext uri="{FF2B5EF4-FFF2-40B4-BE49-F238E27FC236}">
                    <a16:creationId xmlns:a16="http://schemas.microsoft.com/office/drawing/2014/main" id="{F4B7303A-87C1-9543-2FE4-AD8C1776C9DF}"/>
                  </a:ext>
                </a:extLst>
              </p:cNvPr>
              <p:cNvSpPr/>
              <p:nvPr/>
            </p:nvSpPr>
            <p:spPr>
              <a:xfrm>
                <a:off x="8796859" y="1265589"/>
                <a:ext cx="91235" cy="64850"/>
              </a:xfrm>
              <a:custGeom>
                <a:avLst/>
                <a:gdLst>
                  <a:gd name="connsiteX0" fmla="*/ 69556 w 91235"/>
                  <a:gd name="connsiteY0" fmla="*/ 1618 h 64850"/>
                  <a:gd name="connsiteX1" fmla="*/ 7226 w 91235"/>
                  <a:gd name="connsiteY1" fmla="*/ 37751 h 64850"/>
                  <a:gd name="connsiteX2" fmla="*/ 1807 w 91235"/>
                  <a:gd name="connsiteY2" fmla="*/ 57624 h 64850"/>
                  <a:gd name="connsiteX3" fmla="*/ 21680 w 91235"/>
                  <a:gd name="connsiteY3" fmla="*/ 63044 h 64850"/>
                  <a:gd name="connsiteX4" fmla="*/ 84009 w 91235"/>
                  <a:gd name="connsiteY4" fmla="*/ 26911 h 64850"/>
                  <a:gd name="connsiteX5" fmla="*/ 89429 w 91235"/>
                  <a:gd name="connsiteY5" fmla="*/ 7038 h 64850"/>
                  <a:gd name="connsiteX6" fmla="*/ 69556 w 91235"/>
                  <a:gd name="connsiteY6" fmla="*/ 1618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235" h="64850">
                    <a:moveTo>
                      <a:pt x="69556" y="1618"/>
                    </a:moveTo>
                    <a:lnTo>
                      <a:pt x="7226" y="37751"/>
                    </a:lnTo>
                    <a:cubicBezTo>
                      <a:pt x="0" y="41365"/>
                      <a:pt x="-1807" y="50398"/>
                      <a:pt x="1807" y="57624"/>
                    </a:cubicBezTo>
                    <a:cubicBezTo>
                      <a:pt x="5420" y="64851"/>
                      <a:pt x="14453" y="66657"/>
                      <a:pt x="21680" y="63044"/>
                    </a:cubicBezTo>
                    <a:lnTo>
                      <a:pt x="84009" y="26911"/>
                    </a:lnTo>
                    <a:cubicBezTo>
                      <a:pt x="91236" y="23298"/>
                      <a:pt x="93042" y="14265"/>
                      <a:pt x="89429" y="7038"/>
                    </a:cubicBezTo>
                    <a:cubicBezTo>
                      <a:pt x="84912" y="715"/>
                      <a:pt x="76782" y="-1995"/>
                      <a:pt x="69556" y="161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6" name="Freeform 85">
                <a:extLst>
                  <a:ext uri="{FF2B5EF4-FFF2-40B4-BE49-F238E27FC236}">
                    <a16:creationId xmlns:a16="http://schemas.microsoft.com/office/drawing/2014/main" id="{0E21C665-2D5A-ABE4-CF58-3FCEF4D06BF6}"/>
                  </a:ext>
                </a:extLst>
              </p:cNvPr>
              <p:cNvSpPr/>
              <p:nvPr/>
            </p:nvSpPr>
            <p:spPr>
              <a:xfrm>
                <a:off x="8796457" y="853486"/>
                <a:ext cx="91499" cy="65041"/>
              </a:xfrm>
              <a:custGeom>
                <a:avLst/>
                <a:gdLst>
                  <a:gd name="connsiteX0" fmla="*/ 7628 w 91499"/>
                  <a:gd name="connsiteY0" fmla="*/ 27100 h 65041"/>
                  <a:gd name="connsiteX1" fmla="*/ 77184 w 91499"/>
                  <a:gd name="connsiteY1" fmla="*/ 65039 h 65041"/>
                  <a:gd name="connsiteX2" fmla="*/ 84410 w 91499"/>
                  <a:gd name="connsiteY2" fmla="*/ 37940 h 65041"/>
                  <a:gd name="connsiteX3" fmla="*/ 22081 w 91499"/>
                  <a:gd name="connsiteY3" fmla="*/ 1807 h 65041"/>
                  <a:gd name="connsiteX4" fmla="*/ 2208 w 91499"/>
                  <a:gd name="connsiteY4" fmla="*/ 7226 h 65041"/>
                  <a:gd name="connsiteX5" fmla="*/ 7628 w 91499"/>
                  <a:gd name="connsiteY5" fmla="*/ 27100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99" h="65041">
                    <a:moveTo>
                      <a:pt x="7628" y="27100"/>
                    </a:moveTo>
                    <a:cubicBezTo>
                      <a:pt x="74474" y="65942"/>
                      <a:pt x="71764" y="65039"/>
                      <a:pt x="77184" y="65039"/>
                    </a:cubicBezTo>
                    <a:cubicBezTo>
                      <a:pt x="91637" y="65039"/>
                      <a:pt x="97057" y="45166"/>
                      <a:pt x="84410" y="37940"/>
                    </a:cubicBezTo>
                    <a:lnTo>
                      <a:pt x="22081" y="1807"/>
                    </a:lnTo>
                    <a:cubicBezTo>
                      <a:pt x="14855" y="-1807"/>
                      <a:pt x="6725" y="0"/>
                      <a:pt x="2208" y="7226"/>
                    </a:cubicBezTo>
                    <a:cubicBezTo>
                      <a:pt x="-2308" y="14453"/>
                      <a:pt x="401" y="23486"/>
                      <a:pt x="7628" y="271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7" name="Freeform 86">
                <a:extLst>
                  <a:ext uri="{FF2B5EF4-FFF2-40B4-BE49-F238E27FC236}">
                    <a16:creationId xmlns:a16="http://schemas.microsoft.com/office/drawing/2014/main" id="{CA187EB1-D7DD-3036-150F-8503153BF4FB}"/>
                  </a:ext>
                </a:extLst>
              </p:cNvPr>
              <p:cNvSpPr/>
              <p:nvPr/>
            </p:nvSpPr>
            <p:spPr>
              <a:xfrm>
                <a:off x="9560165" y="1077510"/>
                <a:ext cx="101172" cy="28906"/>
              </a:xfrm>
              <a:custGeom>
                <a:avLst/>
                <a:gdLst>
                  <a:gd name="connsiteX0" fmla="*/ 86719 w 101172"/>
                  <a:gd name="connsiteY0" fmla="*/ 0 h 28906"/>
                  <a:gd name="connsiteX1" fmla="*/ 14453 w 101172"/>
                  <a:gd name="connsiteY1" fmla="*/ 0 h 28906"/>
                  <a:gd name="connsiteX2" fmla="*/ 0 w 101172"/>
                  <a:gd name="connsiteY2" fmla="*/ 14453 h 28906"/>
                  <a:gd name="connsiteX3" fmla="*/ 14453 w 101172"/>
                  <a:gd name="connsiteY3" fmla="*/ 28906 h 28906"/>
                  <a:gd name="connsiteX4" fmla="*/ 86719 w 101172"/>
                  <a:gd name="connsiteY4" fmla="*/ 28906 h 28906"/>
                  <a:gd name="connsiteX5" fmla="*/ 101172 w 101172"/>
                  <a:gd name="connsiteY5" fmla="*/ 14453 h 28906"/>
                  <a:gd name="connsiteX6" fmla="*/ 86719 w 101172"/>
                  <a:gd name="connsiteY6" fmla="*/ 0 h 28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172" h="28906">
                    <a:moveTo>
                      <a:pt x="86719" y="0"/>
                    </a:moveTo>
                    <a:lnTo>
                      <a:pt x="14453" y="0"/>
                    </a:lnTo>
                    <a:cubicBezTo>
                      <a:pt x="6323" y="0"/>
                      <a:pt x="0" y="6323"/>
                      <a:pt x="0" y="14453"/>
                    </a:cubicBezTo>
                    <a:cubicBezTo>
                      <a:pt x="0" y="22583"/>
                      <a:pt x="6323" y="28906"/>
                      <a:pt x="14453" y="28906"/>
                    </a:cubicBezTo>
                    <a:lnTo>
                      <a:pt x="86719" y="28906"/>
                    </a:lnTo>
                    <a:cubicBezTo>
                      <a:pt x="94849" y="28906"/>
                      <a:pt x="101172" y="22583"/>
                      <a:pt x="101172" y="14453"/>
                    </a:cubicBezTo>
                    <a:cubicBezTo>
                      <a:pt x="101172" y="6323"/>
                      <a:pt x="94849" y="0"/>
                      <a:pt x="86719"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8" name="Freeform 87">
                <a:extLst>
                  <a:ext uri="{FF2B5EF4-FFF2-40B4-BE49-F238E27FC236}">
                    <a16:creationId xmlns:a16="http://schemas.microsoft.com/office/drawing/2014/main" id="{263B72C1-7698-CA4D-49F8-FD9B8FDA1038}"/>
                  </a:ext>
                </a:extLst>
              </p:cNvPr>
              <p:cNvSpPr/>
              <p:nvPr/>
            </p:nvSpPr>
            <p:spPr>
              <a:xfrm>
                <a:off x="9510483" y="1265401"/>
                <a:ext cx="91047" cy="65039"/>
              </a:xfrm>
              <a:custGeom>
                <a:avLst/>
                <a:gdLst>
                  <a:gd name="connsiteX0" fmla="*/ 84009 w 91047"/>
                  <a:gd name="connsiteY0" fmla="*/ 37939 h 65039"/>
                  <a:gd name="connsiteX1" fmla="*/ 21680 w 91047"/>
                  <a:gd name="connsiteY1" fmla="*/ 1807 h 65039"/>
                  <a:gd name="connsiteX2" fmla="*/ 1807 w 91047"/>
                  <a:gd name="connsiteY2" fmla="*/ 7227 h 65039"/>
                  <a:gd name="connsiteX3" fmla="*/ 7226 w 91047"/>
                  <a:gd name="connsiteY3" fmla="*/ 27099 h 65039"/>
                  <a:gd name="connsiteX4" fmla="*/ 69556 w 91047"/>
                  <a:gd name="connsiteY4" fmla="*/ 63232 h 65039"/>
                  <a:gd name="connsiteX5" fmla="*/ 89429 w 91047"/>
                  <a:gd name="connsiteY5" fmla="*/ 57813 h 65039"/>
                  <a:gd name="connsiteX6" fmla="*/ 84009 w 91047"/>
                  <a:gd name="connsiteY6" fmla="*/ 37939 h 65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47" h="65039">
                    <a:moveTo>
                      <a:pt x="84009" y="37939"/>
                    </a:moveTo>
                    <a:lnTo>
                      <a:pt x="21680" y="1807"/>
                    </a:lnTo>
                    <a:cubicBezTo>
                      <a:pt x="14453" y="-1806"/>
                      <a:pt x="6323" y="0"/>
                      <a:pt x="1807" y="7227"/>
                    </a:cubicBezTo>
                    <a:cubicBezTo>
                      <a:pt x="-1807" y="14453"/>
                      <a:pt x="0" y="22583"/>
                      <a:pt x="7226" y="27099"/>
                    </a:cubicBezTo>
                    <a:lnTo>
                      <a:pt x="69556" y="63232"/>
                    </a:lnTo>
                    <a:cubicBezTo>
                      <a:pt x="76782" y="66846"/>
                      <a:pt x="84912" y="65039"/>
                      <a:pt x="89429" y="57813"/>
                    </a:cubicBezTo>
                    <a:cubicBezTo>
                      <a:pt x="93042" y="51489"/>
                      <a:pt x="90332" y="42456"/>
                      <a:pt x="84009" y="379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8DDFDD2E-0E5B-F514-9595-74999CFD35E4}"/>
                  </a:ext>
                </a:extLst>
              </p:cNvPr>
              <p:cNvSpPr/>
              <p:nvPr/>
            </p:nvSpPr>
            <p:spPr>
              <a:xfrm>
                <a:off x="9509975" y="853486"/>
                <a:ext cx="91742" cy="65041"/>
              </a:xfrm>
              <a:custGeom>
                <a:avLst/>
                <a:gdLst>
                  <a:gd name="connsiteX0" fmla="*/ 14961 w 91742"/>
                  <a:gd name="connsiteY0" fmla="*/ 65039 h 65041"/>
                  <a:gd name="connsiteX1" fmla="*/ 84516 w 91742"/>
                  <a:gd name="connsiteY1" fmla="*/ 27100 h 65041"/>
                  <a:gd name="connsiteX2" fmla="*/ 89936 w 91742"/>
                  <a:gd name="connsiteY2" fmla="*/ 7226 h 65041"/>
                  <a:gd name="connsiteX3" fmla="*/ 70063 w 91742"/>
                  <a:gd name="connsiteY3" fmla="*/ 1807 h 65041"/>
                  <a:gd name="connsiteX4" fmla="*/ 7734 w 91742"/>
                  <a:gd name="connsiteY4" fmla="*/ 37940 h 65041"/>
                  <a:gd name="connsiteX5" fmla="*/ 14961 w 91742"/>
                  <a:gd name="connsiteY5" fmla="*/ 65039 h 6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742" h="65041">
                    <a:moveTo>
                      <a:pt x="14961" y="65039"/>
                    </a:moveTo>
                    <a:cubicBezTo>
                      <a:pt x="20381" y="65039"/>
                      <a:pt x="17671" y="65942"/>
                      <a:pt x="84516" y="27100"/>
                    </a:cubicBezTo>
                    <a:cubicBezTo>
                      <a:pt x="91743" y="23486"/>
                      <a:pt x="93549" y="14453"/>
                      <a:pt x="89936" y="7226"/>
                    </a:cubicBezTo>
                    <a:cubicBezTo>
                      <a:pt x="86323" y="0"/>
                      <a:pt x="77290" y="-1807"/>
                      <a:pt x="70063" y="1807"/>
                    </a:cubicBezTo>
                    <a:lnTo>
                      <a:pt x="7734" y="37940"/>
                    </a:lnTo>
                    <a:cubicBezTo>
                      <a:pt x="-5816" y="45166"/>
                      <a:pt x="-396" y="65039"/>
                      <a:pt x="14961" y="650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
          <p:nvSpPr>
            <p:cNvPr id="81" name="Freeform 80">
              <a:extLst>
                <a:ext uri="{FF2B5EF4-FFF2-40B4-BE49-F238E27FC236}">
                  <a16:creationId xmlns:a16="http://schemas.microsoft.com/office/drawing/2014/main" id="{6023B845-2CBD-8B9E-23B7-80767CFDCDB2}"/>
                </a:ext>
              </a:extLst>
            </p:cNvPr>
            <p:cNvSpPr/>
            <p:nvPr/>
          </p:nvSpPr>
          <p:spPr>
            <a:xfrm>
              <a:off x="9222323" y="1077510"/>
              <a:ext cx="173437" cy="158984"/>
            </a:xfrm>
            <a:custGeom>
              <a:avLst/>
              <a:gdLst>
                <a:gd name="connsiteX0" fmla="*/ 112012 w 173437"/>
                <a:gd name="connsiteY0" fmla="*/ 63233 h 158984"/>
                <a:gd name="connsiteX1" fmla="*/ 91235 w 173437"/>
                <a:gd name="connsiteY1" fmla="*/ 61426 h 158984"/>
                <a:gd name="connsiteX2" fmla="*/ 0 w 173437"/>
                <a:gd name="connsiteY2" fmla="*/ 141822 h 158984"/>
                <a:gd name="connsiteX3" fmla="*/ 0 w 173437"/>
                <a:gd name="connsiteY3" fmla="*/ 130079 h 158984"/>
                <a:gd name="connsiteX4" fmla="*/ 130078 w 173437"/>
                <a:gd name="connsiteY4" fmla="*/ 0 h 158984"/>
                <a:gd name="connsiteX5" fmla="*/ 173437 w 173437"/>
                <a:gd name="connsiteY5" fmla="*/ 0 h 158984"/>
                <a:gd name="connsiteX6" fmla="*/ 173437 w 173437"/>
                <a:gd name="connsiteY6" fmla="*/ 28906 h 158984"/>
                <a:gd name="connsiteX7" fmla="*/ 43359 w 173437"/>
                <a:gd name="connsiteY7" fmla="*/ 158985 h 158984"/>
                <a:gd name="connsiteX8" fmla="*/ 24389 w 173437"/>
                <a:gd name="connsiteY8" fmla="*/ 158985 h 158984"/>
                <a:gd name="connsiteX9" fmla="*/ 111108 w 173437"/>
                <a:gd name="connsiteY9" fmla="*/ 83106 h 158984"/>
                <a:gd name="connsiteX10" fmla="*/ 112012 w 173437"/>
                <a:gd name="connsiteY10" fmla="*/ 63233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12012" y="63233"/>
                  </a:moveTo>
                  <a:cubicBezTo>
                    <a:pt x="106592" y="56909"/>
                    <a:pt x="97559" y="56909"/>
                    <a:pt x="91235" y="61426"/>
                  </a:cubicBezTo>
                  <a:lnTo>
                    <a:pt x="0" y="141822"/>
                  </a:lnTo>
                  <a:lnTo>
                    <a:pt x="0" y="130079"/>
                  </a:lnTo>
                  <a:cubicBezTo>
                    <a:pt x="0" y="58716"/>
                    <a:pt x="58716" y="0"/>
                    <a:pt x="130078" y="0"/>
                  </a:cubicBezTo>
                  <a:lnTo>
                    <a:pt x="173437" y="0"/>
                  </a:lnTo>
                  <a:lnTo>
                    <a:pt x="173437" y="28906"/>
                  </a:lnTo>
                  <a:cubicBezTo>
                    <a:pt x="173437" y="100269"/>
                    <a:pt x="114721" y="158985"/>
                    <a:pt x="43359" y="158985"/>
                  </a:cubicBezTo>
                  <a:lnTo>
                    <a:pt x="24389" y="158985"/>
                  </a:lnTo>
                  <a:lnTo>
                    <a:pt x="111108" y="83106"/>
                  </a:lnTo>
                  <a:cubicBezTo>
                    <a:pt x="116528" y="77686"/>
                    <a:pt x="117432" y="68653"/>
                    <a:pt x="112012" y="63233"/>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E93457C0-2EFA-CCAB-8B26-2CC0C69D0149}"/>
                </a:ext>
              </a:extLst>
            </p:cNvPr>
            <p:cNvSpPr/>
            <p:nvPr/>
          </p:nvSpPr>
          <p:spPr>
            <a:xfrm>
              <a:off x="9020882" y="1078413"/>
              <a:ext cx="173437" cy="158984"/>
            </a:xfrm>
            <a:custGeom>
              <a:avLst/>
              <a:gdLst>
                <a:gd name="connsiteX0" fmla="*/ 172535 w 173437"/>
                <a:gd name="connsiteY0" fmla="*/ 140918 h 158984"/>
                <a:gd name="connsiteX1" fmla="*/ 81299 w 173437"/>
                <a:gd name="connsiteY1" fmla="*/ 60522 h 158984"/>
                <a:gd name="connsiteX2" fmla="*/ 60523 w 173437"/>
                <a:gd name="connsiteY2" fmla="*/ 62329 h 158984"/>
                <a:gd name="connsiteX3" fmla="*/ 62329 w 173437"/>
                <a:gd name="connsiteY3" fmla="*/ 83105 h 158984"/>
                <a:gd name="connsiteX4" fmla="*/ 149048 w 173437"/>
                <a:gd name="connsiteY4" fmla="*/ 158984 h 158984"/>
                <a:gd name="connsiteX5" fmla="*/ 130079 w 173437"/>
                <a:gd name="connsiteY5" fmla="*/ 158984 h 158984"/>
                <a:gd name="connsiteX6" fmla="*/ 0 w 173437"/>
                <a:gd name="connsiteY6" fmla="*/ 28906 h 158984"/>
                <a:gd name="connsiteX7" fmla="*/ 0 w 173437"/>
                <a:gd name="connsiteY7" fmla="*/ 0 h 158984"/>
                <a:gd name="connsiteX8" fmla="*/ 43360 w 173437"/>
                <a:gd name="connsiteY8" fmla="*/ 0 h 158984"/>
                <a:gd name="connsiteX9" fmla="*/ 173438 w 173437"/>
                <a:gd name="connsiteY9" fmla="*/ 130078 h 158984"/>
                <a:gd name="connsiteX10" fmla="*/ 173438 w 173437"/>
                <a:gd name="connsiteY10" fmla="*/ 140918 h 15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437" h="158984">
                  <a:moveTo>
                    <a:pt x="172535" y="140918"/>
                  </a:moveTo>
                  <a:lnTo>
                    <a:pt x="81299" y="60522"/>
                  </a:lnTo>
                  <a:cubicBezTo>
                    <a:pt x="74976" y="55102"/>
                    <a:pt x="65943" y="56005"/>
                    <a:pt x="60523" y="62329"/>
                  </a:cubicBezTo>
                  <a:cubicBezTo>
                    <a:pt x="55103" y="68652"/>
                    <a:pt x="56006" y="77685"/>
                    <a:pt x="62329" y="83105"/>
                  </a:cubicBezTo>
                  <a:lnTo>
                    <a:pt x="149048" y="158984"/>
                  </a:lnTo>
                  <a:lnTo>
                    <a:pt x="130079" y="158984"/>
                  </a:lnTo>
                  <a:cubicBezTo>
                    <a:pt x="58716" y="158984"/>
                    <a:pt x="0" y="100268"/>
                    <a:pt x="0" y="28906"/>
                  </a:cubicBezTo>
                  <a:lnTo>
                    <a:pt x="0" y="0"/>
                  </a:lnTo>
                  <a:lnTo>
                    <a:pt x="43360" y="0"/>
                  </a:lnTo>
                  <a:cubicBezTo>
                    <a:pt x="114722" y="0"/>
                    <a:pt x="173438" y="58716"/>
                    <a:pt x="173438" y="130078"/>
                  </a:cubicBezTo>
                  <a:lnTo>
                    <a:pt x="173438" y="14091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84560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2937377"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Επάρκεια ηγεσίας σε κρίσεις</a:t>
            </a:r>
          </a:p>
          <a:p>
            <a:endParaRPr lang="en-US" dirty="0">
              <a:solidFill>
                <a:schemeClr val="bg1"/>
              </a:solidFill>
            </a:endParaRPr>
          </a:p>
          <a:p>
            <a:pPr>
              <a:lnSpc>
                <a:spcPts val="2240"/>
              </a:lnSpc>
              <a:spcBef>
                <a:spcPts val="0"/>
              </a:spcBef>
            </a:pPr>
            <a:r>
              <a:rPr lang="en-US" sz="2200" dirty="0">
                <a:solidFill>
                  <a:schemeClr val="bg1"/>
                </a:solidFill>
              </a:rPr>
              <a:t>Η διαχείριση κρίσεων απαιτεί κυρίαρχες και γρήγορες αποφάσεις. Αυτό οφείλεται στο γεγονός ότι τα συνήθη πρότυπα </a:t>
            </a:r>
            <a:r>
              <a:rPr lang="en-US" sz="2200" dirty="0" err="1">
                <a:solidFill>
                  <a:schemeClr val="bg1"/>
                </a:solidFill>
              </a:rPr>
              <a:t>συμπεριφοράς </a:t>
            </a:r>
            <a:r>
              <a:rPr lang="en-US" sz="2200" dirty="0">
                <a:solidFill>
                  <a:schemeClr val="bg1"/>
                </a:solidFill>
              </a:rPr>
              <a:t>και οι στρατηγικές δεν επαρκούν συνήθως για να ξεπεραστεί μια κρίση.</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34534" y="6382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Πριν από την κρίση</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Οικοδόμηση εμπιστοσύνης</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Εκπαίδευση ηγεσίας</a:t>
            </a:r>
          </a:p>
          <a:p>
            <a:pPr marL="342900" indent="-342900" algn="l">
              <a:lnSpc>
                <a:spcPts val="2280"/>
              </a:lnSpc>
              <a:spcBef>
                <a:spcPts val="0"/>
              </a:spcBef>
              <a:buClr>
                <a:srgbClr val="7F1C58"/>
              </a:buClr>
              <a:buFont typeface="Arial" panose="020B0604020202020204" pitchFamily="34" charset="0"/>
              <a:buChar char="•"/>
            </a:pPr>
            <a:r>
              <a:rPr lang="en-US" sz="2200" dirty="0">
                <a:solidFill>
                  <a:srgbClr val="616161"/>
                </a:solidFill>
              </a:rPr>
              <a:t>Συστήματα έγκαιρης προειδοποίησης</a:t>
            </a:r>
          </a:p>
          <a:p>
            <a:pPr algn="l">
              <a:lnSpc>
                <a:spcPts val="2280"/>
              </a:lnSpc>
              <a:spcBef>
                <a:spcPts val="0"/>
              </a:spcBef>
            </a:pPr>
            <a:endParaRPr lang="en-US" sz="2200" dirty="0">
              <a:solidFill>
                <a:srgbClr val="616161"/>
              </a:solidFill>
            </a:endParaRP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68804" y="2538814"/>
            <a:ext cx="3778566" cy="1157102"/>
          </a:xfrm>
        </p:spPr>
        <p:txBody>
          <a:bodyPr>
            <a:noAutofit/>
          </a:bodyPr>
          <a:lstStyle/>
          <a:p>
            <a:pPr>
              <a:lnSpc>
                <a:spcPts val="2280"/>
              </a:lnSpc>
              <a:spcBef>
                <a:spcPts val="0"/>
              </a:spcBef>
            </a:pPr>
            <a:r>
              <a:rPr lang="en-US" sz="2200" b="1" dirty="0">
                <a:solidFill>
                  <a:srgbClr val="F16924"/>
                </a:solidFill>
              </a:rPr>
              <a:t>Κατά τη διάρκεια της κρίσης</a:t>
            </a:r>
          </a:p>
          <a:p>
            <a:pPr marL="342900" indent="-342900">
              <a:lnSpc>
                <a:spcPts val="2280"/>
              </a:lnSpc>
              <a:spcBef>
                <a:spcPts val="0"/>
              </a:spcBef>
              <a:buClr>
                <a:srgbClr val="F16924"/>
              </a:buClr>
              <a:buFont typeface="Arial" panose="020B0604020202020204" pitchFamily="34" charset="0"/>
              <a:buChar char="•"/>
            </a:pPr>
            <a:r>
              <a:rPr lang="en-US" sz="2200" dirty="0"/>
              <a:t>Επικοινωνία</a:t>
            </a:r>
          </a:p>
          <a:p>
            <a:pPr marL="342900" indent="-342900">
              <a:lnSpc>
                <a:spcPts val="2280"/>
              </a:lnSpc>
              <a:spcBef>
                <a:spcPts val="0"/>
              </a:spcBef>
              <a:buClr>
                <a:srgbClr val="F16924"/>
              </a:buClr>
              <a:buFont typeface="Arial" panose="020B0604020202020204" pitchFamily="34" charset="0"/>
              <a:buChar char="•"/>
            </a:pPr>
            <a:r>
              <a:rPr lang="en-US" sz="2200" dirty="0"/>
              <a:t>Προτεραιότητες</a:t>
            </a:r>
          </a:p>
          <a:p>
            <a:pPr marL="342900" indent="-342900">
              <a:lnSpc>
                <a:spcPts val="2280"/>
              </a:lnSpc>
              <a:spcBef>
                <a:spcPts val="0"/>
              </a:spcBef>
              <a:buClr>
                <a:srgbClr val="F16924"/>
              </a:buClr>
              <a:buFont typeface="Arial" panose="020B0604020202020204" pitchFamily="34" charset="0"/>
              <a:buChar char="•"/>
            </a:pPr>
            <a:r>
              <a:rPr lang="en-US" sz="2200" dirty="0"/>
              <a:t>Πολιτικό θάρρος</a:t>
            </a:r>
          </a:p>
          <a:p>
            <a:pPr marL="342900" indent="-342900">
              <a:lnSpc>
                <a:spcPts val="2280"/>
              </a:lnSpc>
              <a:spcBef>
                <a:spcPts val="0"/>
              </a:spcBef>
              <a:buClr>
                <a:srgbClr val="F16924"/>
              </a:buClr>
              <a:buFont typeface="Arial" panose="020B0604020202020204" pitchFamily="34" charset="0"/>
              <a:buChar char="•"/>
            </a:pPr>
            <a:r>
              <a:rPr lang="en-US" sz="2200" dirty="0"/>
              <a:t>Προσανατολισμός</a:t>
            </a:r>
          </a:p>
          <a:p>
            <a:pPr marL="342900" indent="-342900">
              <a:lnSpc>
                <a:spcPts val="2280"/>
              </a:lnSpc>
              <a:spcBef>
                <a:spcPts val="0"/>
              </a:spcBef>
              <a:buClr>
                <a:srgbClr val="F16924"/>
              </a:buClr>
              <a:buFont typeface="Arial" panose="020B0604020202020204" pitchFamily="34" charset="0"/>
              <a:buChar char="•"/>
            </a:pPr>
            <a:r>
              <a:rPr lang="en-US" sz="2200" dirty="0"/>
              <a:t>Συμβολική διαχείριση</a:t>
            </a:r>
          </a:p>
          <a:p>
            <a:pPr marL="342900" indent="-342900">
              <a:lnSpc>
                <a:spcPts val="2280"/>
              </a:lnSpc>
              <a:spcBef>
                <a:spcPts val="0"/>
              </a:spcBef>
              <a:buClr>
                <a:srgbClr val="F16924"/>
              </a:buClr>
              <a:buFont typeface="Arial" panose="020B0604020202020204" pitchFamily="34" charset="0"/>
              <a:buChar char="•"/>
            </a:pPr>
            <a:r>
              <a:rPr lang="en-US" sz="2200" dirty="0"/>
              <a:t>Σενάρια ανάκαμψης</a:t>
            </a:r>
          </a:p>
          <a:p>
            <a:pPr>
              <a:lnSpc>
                <a:spcPts val="2280"/>
              </a:lnSpc>
              <a:spcBef>
                <a:spcPts val="0"/>
              </a:spcBef>
            </a:pPr>
            <a:endParaRPr lang="en-US" sz="2200" dirty="0"/>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308926" y="5179847"/>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Μετά την κρίση</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Συστηματική μάθηση</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Σχεδιασμός διαδοχής</a:t>
            </a:r>
          </a:p>
          <a:p>
            <a:pPr marL="342900" indent="-342900" algn="l">
              <a:lnSpc>
                <a:spcPts val="2280"/>
              </a:lnSpc>
              <a:spcBef>
                <a:spcPts val="0"/>
              </a:spcBef>
              <a:buClr>
                <a:srgbClr val="B41F7A"/>
              </a:buClr>
              <a:buFont typeface="Arial" panose="020B0604020202020204" pitchFamily="34" charset="0"/>
              <a:buChar char="•"/>
            </a:pPr>
            <a:r>
              <a:rPr lang="en-US" sz="2200" dirty="0">
                <a:solidFill>
                  <a:srgbClr val="616161"/>
                </a:solidFill>
              </a:rPr>
              <a:t>Οικοδόμηση εμπιστοσύνης</a:t>
            </a:r>
          </a:p>
          <a:p>
            <a:pPr algn="l">
              <a:lnSpc>
                <a:spcPts val="2280"/>
              </a:lnSpc>
              <a:spcBef>
                <a:spcPts val="0"/>
              </a:spcBef>
            </a:pPr>
            <a:endParaRPr lang="en-US" sz="2200" dirty="0">
              <a:solidFill>
                <a:srgbClr val="616161"/>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aphic 3">
            <a:extLst>
              <a:ext uri="{FF2B5EF4-FFF2-40B4-BE49-F238E27FC236}">
                <a16:creationId xmlns:a16="http://schemas.microsoft.com/office/drawing/2014/main" id="{D91E1096-AA58-C1AF-1957-FA058CEC1383}"/>
              </a:ext>
            </a:extLst>
          </p:cNvPr>
          <p:cNvGrpSpPr/>
          <p:nvPr/>
        </p:nvGrpSpPr>
        <p:grpSpPr>
          <a:xfrm>
            <a:off x="5934044" y="881053"/>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7118721" y="3050253"/>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984107" y="5289275"/>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08080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9" name="Straight Connector 238">
            <a:extLst>
              <a:ext uri="{FF2B5EF4-FFF2-40B4-BE49-F238E27FC236}">
                <a16:creationId xmlns:a16="http://schemas.microsoft.com/office/drawing/2014/main" id="{55D1B849-A361-EDCE-AAE4-2E2C0F176315}"/>
              </a:ext>
            </a:extLst>
          </p:cNvPr>
          <p:cNvCxnSpPr>
            <a:cxnSpLocks/>
          </p:cNvCxnSpPr>
          <p:nvPr/>
        </p:nvCxnSpPr>
        <p:spPr>
          <a:xfrm>
            <a:off x="4843463" y="2369453"/>
            <a:ext cx="2904096" cy="0"/>
          </a:xfrm>
          <a:prstGeom prst="line">
            <a:avLst/>
          </a:prstGeom>
          <a:ln w="28575">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A38E2B4D-A3A5-766C-E0C5-A8ADDDE791A3}"/>
              </a:ext>
            </a:extLst>
          </p:cNvPr>
          <p:cNvCxnSpPr>
            <a:cxnSpLocks/>
          </p:cNvCxnSpPr>
          <p:nvPr/>
        </p:nvCxnSpPr>
        <p:spPr>
          <a:xfrm>
            <a:off x="9307586" y="4578351"/>
            <a:ext cx="0" cy="1852638"/>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34" name="Group 233">
            <a:extLst>
              <a:ext uri="{FF2B5EF4-FFF2-40B4-BE49-F238E27FC236}">
                <a16:creationId xmlns:a16="http://schemas.microsoft.com/office/drawing/2014/main" id="{79E98455-C5BE-4147-CB8E-F73BF483ABA7}"/>
              </a:ext>
            </a:extLst>
          </p:cNvPr>
          <p:cNvGrpSpPr/>
          <p:nvPr/>
        </p:nvGrpSpPr>
        <p:grpSpPr>
          <a:xfrm>
            <a:off x="6223017" y="783310"/>
            <a:ext cx="5074312" cy="4710739"/>
            <a:chOff x="5723609" y="2120541"/>
            <a:chExt cx="3842397" cy="3567090"/>
          </a:xfrm>
        </p:grpSpPr>
        <p:sp>
          <p:nvSpPr>
            <p:cNvPr id="214" name="Freeform 25">
              <a:extLst>
                <a:ext uri="{FF2B5EF4-FFF2-40B4-BE49-F238E27FC236}">
                  <a16:creationId xmlns:a16="http://schemas.microsoft.com/office/drawing/2014/main" id="{975AECD0-309F-8FB0-E0BC-39DFA22A9221}"/>
                </a:ext>
              </a:extLst>
            </p:cNvPr>
            <p:cNvSpPr>
              <a:spLocks/>
            </p:cNvSpPr>
            <p:nvPr/>
          </p:nvSpPr>
          <p:spPr bwMode="auto">
            <a:xfrm>
              <a:off x="7147044" y="212054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rgbClr val="B41F7A"/>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16" name="Freeform 26">
              <a:extLst>
                <a:ext uri="{FF2B5EF4-FFF2-40B4-BE49-F238E27FC236}">
                  <a16:creationId xmlns:a16="http://schemas.microsoft.com/office/drawing/2014/main" id="{B1A00E6D-7C24-60E8-D207-779077230C19}"/>
                </a:ext>
              </a:extLst>
            </p:cNvPr>
            <p:cNvSpPr>
              <a:spLocks noEditPoints="1"/>
            </p:cNvSpPr>
            <p:nvPr/>
          </p:nvSpPr>
          <p:spPr bwMode="auto">
            <a:xfrm>
              <a:off x="5839232" y="213121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rgbClr val="7F1C58"/>
            </a:solidFill>
            <a:ln>
              <a:noFill/>
            </a:ln>
            <a:effectLst/>
          </p:spPr>
          <p:txBody>
            <a:bodyPr vert="horz" wrap="square" lIns="109559" tIns="54779" rIns="109559" bIns="54779" numCol="1" anchor="t" anchorCtr="0" compatLnSpc="1">
              <a:prstTxWarp prst="textNoShape">
                <a:avLst/>
              </a:prstTxWarp>
            </a:bodyPr>
            <a:lstStyle/>
            <a:p>
              <a:endParaRPr lang="en-GB" sz="1400" dirty="0">
                <a:solidFill>
                  <a:srgbClr val="7F1C58"/>
                </a:solidFill>
                <a:latin typeface="+mj-lt"/>
              </a:endParaRPr>
            </a:p>
          </p:txBody>
        </p:sp>
        <p:sp>
          <p:nvSpPr>
            <p:cNvPr id="217" name="Freeform 27">
              <a:extLst>
                <a:ext uri="{FF2B5EF4-FFF2-40B4-BE49-F238E27FC236}">
                  <a16:creationId xmlns:a16="http://schemas.microsoft.com/office/drawing/2014/main" id="{BE1F919D-8161-BB31-4741-CF92A69BA61F}"/>
                </a:ext>
              </a:extLst>
            </p:cNvPr>
            <p:cNvSpPr>
              <a:spLocks/>
            </p:cNvSpPr>
            <p:nvPr/>
          </p:nvSpPr>
          <p:spPr bwMode="auto">
            <a:xfrm>
              <a:off x="6474814" y="312888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rgbClr val="F16924"/>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20" name="TextBox 30">
              <a:extLst>
                <a:ext uri="{FF2B5EF4-FFF2-40B4-BE49-F238E27FC236}">
                  <a16:creationId xmlns:a16="http://schemas.microsoft.com/office/drawing/2014/main" id="{075F6B6C-75EE-2B56-BFB8-6E9B36796DCB}"/>
                </a:ext>
              </a:extLst>
            </p:cNvPr>
            <p:cNvSpPr txBox="1"/>
            <p:nvPr/>
          </p:nvSpPr>
          <p:spPr>
            <a:xfrm>
              <a:off x="6752782" y="4810913"/>
              <a:ext cx="1209076" cy="349584"/>
            </a:xfrm>
            <a:prstGeom prst="rect">
              <a:avLst/>
            </a:prstGeom>
            <a:noFill/>
          </p:spPr>
          <p:txBody>
            <a:bodyPr wrap="none" rtlCol="0" anchor="t" anchorCtr="0">
              <a:spAutoFit/>
            </a:bodyPr>
            <a:lstStyle/>
            <a:p>
              <a:pPr algn="ctr"/>
              <a:r>
                <a:rPr lang="en-GB" sz="2400" dirty="0">
                  <a:solidFill>
                    <a:schemeClr val="bg1"/>
                  </a:solidFill>
                  <a:ea typeface="League Spartan" charset="0"/>
                  <a:cs typeface="Poppins" pitchFamily="2" charset="77"/>
                </a:rPr>
                <a:t>Εμπιστοσύνη</a:t>
              </a:r>
            </a:p>
          </p:txBody>
        </p:sp>
        <p:sp>
          <p:nvSpPr>
            <p:cNvPr id="222" name="TextBox 32">
              <a:extLst>
                <a:ext uri="{FF2B5EF4-FFF2-40B4-BE49-F238E27FC236}">
                  <a16:creationId xmlns:a16="http://schemas.microsoft.com/office/drawing/2014/main" id="{78EA9368-01A1-A33D-1F37-17F1B298879C}"/>
                </a:ext>
              </a:extLst>
            </p:cNvPr>
            <p:cNvSpPr txBox="1"/>
            <p:nvPr/>
          </p:nvSpPr>
          <p:spPr>
            <a:xfrm>
              <a:off x="6067912" y="2831837"/>
              <a:ext cx="937468" cy="349584"/>
            </a:xfrm>
            <a:prstGeom prst="rect">
              <a:avLst/>
            </a:prstGeom>
            <a:noFill/>
          </p:spPr>
          <p:txBody>
            <a:bodyPr wrap="none" rtlCol="0" anchor="t" anchorCtr="0">
              <a:spAutoFit/>
            </a:bodyPr>
            <a:lstStyle/>
            <a:p>
              <a:pPr algn="ctr"/>
              <a:r>
                <a:rPr lang="en-GB" sz="2400" dirty="0">
                  <a:solidFill>
                    <a:schemeClr val="bg1"/>
                  </a:solidFill>
                  <a:ea typeface="League Spartan" charset="0"/>
                  <a:cs typeface="Poppins" pitchFamily="2" charset="77"/>
                </a:rPr>
                <a:t>Ακεραιότητα</a:t>
              </a:r>
            </a:p>
          </p:txBody>
        </p:sp>
        <p:sp>
          <p:nvSpPr>
            <p:cNvPr id="223" name="TextBox 30">
              <a:extLst>
                <a:ext uri="{FF2B5EF4-FFF2-40B4-BE49-F238E27FC236}">
                  <a16:creationId xmlns:a16="http://schemas.microsoft.com/office/drawing/2014/main" id="{1EB8FFD5-3C97-6D9E-14E5-A53DC97D104D}"/>
                </a:ext>
              </a:extLst>
            </p:cNvPr>
            <p:cNvSpPr txBox="1"/>
            <p:nvPr/>
          </p:nvSpPr>
          <p:spPr>
            <a:xfrm>
              <a:off x="8306238" y="2972024"/>
              <a:ext cx="1082518" cy="349584"/>
            </a:xfrm>
            <a:prstGeom prst="rect">
              <a:avLst/>
            </a:prstGeom>
            <a:noFill/>
          </p:spPr>
          <p:txBody>
            <a:bodyPr wrap="square" rtlCol="0" anchor="t" anchorCtr="0">
              <a:spAutoFit/>
            </a:bodyPr>
            <a:lstStyle/>
            <a:p>
              <a:pPr algn="ctr"/>
              <a:r>
                <a:rPr lang="en-GB" sz="2400" b="1" dirty="0">
                  <a:solidFill>
                    <a:schemeClr val="bg1"/>
                  </a:solidFill>
                  <a:latin typeface="+mj-lt"/>
                  <a:ea typeface="League Spartan" charset="0"/>
                  <a:cs typeface="Poppins" pitchFamily="2" charset="77"/>
                </a:rPr>
                <a:t>Εμπιστοσύνη</a:t>
              </a:r>
            </a:p>
          </p:txBody>
        </p:sp>
        <p:sp>
          <p:nvSpPr>
            <p:cNvPr id="224" name="Text Placeholder 23">
              <a:extLst>
                <a:ext uri="{FF2B5EF4-FFF2-40B4-BE49-F238E27FC236}">
                  <a16:creationId xmlns:a16="http://schemas.microsoft.com/office/drawing/2014/main" id="{EE15E1E8-6D95-7C6B-0E97-0CE04F4FAB4C}"/>
                </a:ext>
              </a:extLst>
            </p:cNvPr>
            <p:cNvSpPr txBox="1">
              <a:spLocks/>
            </p:cNvSpPr>
            <p:nvPr/>
          </p:nvSpPr>
          <p:spPr>
            <a:xfrm>
              <a:off x="8243168" y="2409159"/>
              <a:ext cx="1145587" cy="606056"/>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1</a:t>
              </a:r>
            </a:p>
          </p:txBody>
        </p:sp>
        <p:sp>
          <p:nvSpPr>
            <p:cNvPr id="225" name="Text Placeholder 23">
              <a:extLst>
                <a:ext uri="{FF2B5EF4-FFF2-40B4-BE49-F238E27FC236}">
                  <a16:creationId xmlns:a16="http://schemas.microsoft.com/office/drawing/2014/main" id="{04AAA269-65C3-1721-1B31-E444E9496841}"/>
                </a:ext>
              </a:extLst>
            </p:cNvPr>
            <p:cNvSpPr txBox="1">
              <a:spLocks/>
            </p:cNvSpPr>
            <p:nvPr/>
          </p:nvSpPr>
          <p:spPr>
            <a:xfrm>
              <a:off x="7833569" y="4708555"/>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2</a:t>
              </a:r>
            </a:p>
          </p:txBody>
        </p:sp>
        <p:sp>
          <p:nvSpPr>
            <p:cNvPr id="226" name="Text Placeholder 23">
              <a:extLst>
                <a:ext uri="{FF2B5EF4-FFF2-40B4-BE49-F238E27FC236}">
                  <a16:creationId xmlns:a16="http://schemas.microsoft.com/office/drawing/2014/main" id="{6B8E3B7A-5139-4DFC-3D3F-9E93B9875A34}"/>
                </a:ext>
              </a:extLst>
            </p:cNvPr>
            <p:cNvSpPr txBox="1">
              <a:spLocks/>
            </p:cNvSpPr>
            <p:nvPr/>
          </p:nvSpPr>
          <p:spPr>
            <a:xfrm>
              <a:off x="5723609" y="3315218"/>
              <a:ext cx="1154422" cy="857158"/>
            </a:xfrm>
            <a:prstGeom prst="rect">
              <a:avLst/>
            </a:prstGeom>
            <a:noFill/>
          </p:spPr>
          <p:txBody>
            <a:bodyPr anchor="t">
              <a:normAutofit/>
            </a:bodyPr>
            <a:lstStyle>
              <a:lvl1pPr marL="0" indent="0" algn="ctr" defTabSz="914400" rtl="0" eaLnBrk="1" latinLnBrk="0" hangingPunct="1">
                <a:lnSpc>
                  <a:spcPct val="90000"/>
                </a:lnSpc>
                <a:spcBef>
                  <a:spcPts val="1000"/>
                </a:spcBef>
                <a:buFont typeface="Arial" panose="020B0604020202020204" pitchFamily="34" charset="0"/>
                <a:buNone/>
                <a:defRPr sz="360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800" dirty="0"/>
                <a:t>03</a:t>
              </a:r>
            </a:p>
          </p:txBody>
        </p:sp>
        <p:cxnSp>
          <p:nvCxnSpPr>
            <p:cNvPr id="228" name="Straight Connector 227">
              <a:extLst>
                <a:ext uri="{FF2B5EF4-FFF2-40B4-BE49-F238E27FC236}">
                  <a16:creationId xmlns:a16="http://schemas.microsoft.com/office/drawing/2014/main" id="{05DB572C-C7C1-8520-7248-1AEB897C8069}"/>
                </a:ext>
              </a:extLst>
            </p:cNvPr>
            <p:cNvCxnSpPr>
              <a:cxnSpLocks/>
            </p:cNvCxnSpPr>
            <p:nvPr/>
          </p:nvCxnSpPr>
          <p:spPr>
            <a:xfrm>
              <a:off x="8337612" y="2928833"/>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13A86B69-B7CB-91C3-ECBC-F549C1FAFE52}"/>
                </a:ext>
              </a:extLst>
            </p:cNvPr>
            <p:cNvCxnSpPr>
              <a:cxnSpLocks/>
            </p:cNvCxnSpPr>
            <p:nvPr/>
          </p:nvCxnSpPr>
          <p:spPr>
            <a:xfrm>
              <a:off x="8048503" y="4647114"/>
              <a:ext cx="0" cy="1040517"/>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E7DDF3B5-98EC-E298-F8BB-71CDD8B9D12B}"/>
                </a:ext>
              </a:extLst>
            </p:cNvPr>
            <p:cNvCxnSpPr>
              <a:cxnSpLocks/>
            </p:cNvCxnSpPr>
            <p:nvPr/>
          </p:nvCxnSpPr>
          <p:spPr>
            <a:xfrm>
              <a:off x="5839232" y="3323067"/>
              <a:ext cx="1145586" cy="0"/>
            </a:xfrm>
            <a:prstGeom prst="line">
              <a:avLst/>
            </a:prstGeom>
            <a:ln w="19050">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6" name="Oval 235">
            <a:extLst>
              <a:ext uri="{FF2B5EF4-FFF2-40B4-BE49-F238E27FC236}">
                <a16:creationId xmlns:a16="http://schemas.microsoft.com/office/drawing/2014/main" id="{4931CE26-D356-6A6D-9999-9A42103EE576}"/>
              </a:ext>
            </a:extLst>
          </p:cNvPr>
          <p:cNvSpPr/>
          <p:nvPr/>
        </p:nvSpPr>
        <p:spPr>
          <a:xfrm>
            <a:off x="7844866" y="1913973"/>
            <a:ext cx="2229013" cy="222901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3" y="430173"/>
            <a:ext cx="3526480"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Ηγεσία μέσω χαρίσματος</a:t>
            </a:r>
          </a:p>
          <a:p>
            <a:endParaRPr lang="en-US" dirty="0">
              <a:solidFill>
                <a:schemeClr val="bg1"/>
              </a:solidFill>
            </a:endParaRPr>
          </a:p>
          <a:p>
            <a:pPr>
              <a:lnSpc>
                <a:spcPts val="2240"/>
              </a:lnSpc>
              <a:spcBef>
                <a:spcPts val="0"/>
              </a:spcBef>
            </a:pPr>
            <a:r>
              <a:rPr lang="en-US" sz="2200" dirty="0">
                <a:solidFill>
                  <a:schemeClr val="bg1"/>
                </a:solidFill>
              </a:rPr>
              <a:t>Το χάρισμα είναι ιδιαίτερα απαραίτητο στη διοίκηση επιχειρήσεων όταν επίκειται αβεβαιότητα, αλλαγή, κρίση, πρόκληση (ή ακόμη και εξαιρετική ευκαιρία).</a:t>
            </a:r>
          </a:p>
          <a:p>
            <a:r>
              <a:rPr lang="en-US" dirty="0">
                <a:solidFill>
                  <a:schemeClr val="bg1"/>
                </a:solidFill>
              </a:rPr>
              <a:t> </a:t>
            </a: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35" name="TextBox 28">
            <a:extLst>
              <a:ext uri="{FF2B5EF4-FFF2-40B4-BE49-F238E27FC236}">
                <a16:creationId xmlns:a16="http://schemas.microsoft.com/office/drawing/2014/main" id="{480F0358-6C5F-83BB-0059-1907FC714629}"/>
              </a:ext>
            </a:extLst>
          </p:cNvPr>
          <p:cNvSpPr txBox="1"/>
          <p:nvPr/>
        </p:nvSpPr>
        <p:spPr>
          <a:xfrm>
            <a:off x="7781789" y="2609419"/>
            <a:ext cx="2355165" cy="861774"/>
          </a:xfrm>
          <a:prstGeom prst="rect">
            <a:avLst/>
          </a:prstGeom>
          <a:noFill/>
        </p:spPr>
        <p:txBody>
          <a:bodyPr wrap="square" rtlCol="0" anchor="t" anchorCtr="0">
            <a:spAutoFit/>
          </a:bodyPr>
          <a:lstStyle/>
          <a:p>
            <a:pPr algn="ctr">
              <a:lnSpc>
                <a:spcPts val="2960"/>
              </a:lnSpc>
            </a:pPr>
            <a:r>
              <a:rPr lang="en-GB" sz="2800" dirty="0">
                <a:solidFill>
                  <a:srgbClr val="595959"/>
                </a:solidFill>
                <a:ea typeface="League Spartan" charset="0"/>
                <a:cs typeface="Poppins" pitchFamily="2" charset="77"/>
              </a:rPr>
              <a:t>Πηγή χαρίσματος:</a:t>
            </a:r>
          </a:p>
        </p:txBody>
      </p:sp>
      <p:sp>
        <p:nvSpPr>
          <p:cNvPr id="243" name="Subtitle 2">
            <a:extLst>
              <a:ext uri="{FF2B5EF4-FFF2-40B4-BE49-F238E27FC236}">
                <a16:creationId xmlns:a16="http://schemas.microsoft.com/office/drawing/2014/main" id="{7959C6DA-52C6-1633-E5EF-57CD84AF4B2E}"/>
              </a:ext>
            </a:extLst>
          </p:cNvPr>
          <p:cNvSpPr txBox="1">
            <a:spLocks/>
          </p:cNvSpPr>
          <p:nvPr/>
        </p:nvSpPr>
        <p:spPr>
          <a:xfrm>
            <a:off x="9441838" y="5546059"/>
            <a:ext cx="1979393" cy="8849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Ελπίδα</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Fitness</a:t>
            </a:r>
          </a:p>
          <a:p>
            <a:pPr marL="182563" indent="-182563" algn="l">
              <a:lnSpc>
                <a:spcPts val="2200"/>
              </a:lnSpc>
              <a:spcBef>
                <a:spcPts val="0"/>
              </a:spcBef>
              <a:buClr>
                <a:srgbClr val="F16924"/>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Ικανότητα</a:t>
            </a:r>
          </a:p>
        </p:txBody>
      </p:sp>
      <p:sp>
        <p:nvSpPr>
          <p:cNvPr id="244" name="Subtitle 2">
            <a:extLst>
              <a:ext uri="{FF2B5EF4-FFF2-40B4-BE49-F238E27FC236}">
                <a16:creationId xmlns:a16="http://schemas.microsoft.com/office/drawing/2014/main" id="{54A423AD-32E5-B611-3FBB-464519FB1B74}"/>
              </a:ext>
            </a:extLst>
          </p:cNvPr>
          <p:cNvSpPr txBox="1">
            <a:spLocks/>
          </p:cNvSpPr>
          <p:nvPr/>
        </p:nvSpPr>
        <p:spPr>
          <a:xfrm>
            <a:off x="4871305" y="1467279"/>
            <a:ext cx="1979393" cy="8810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Ειλικρίνεια</a:t>
            </a:r>
          </a:p>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Αρχές</a:t>
            </a:r>
          </a:p>
          <a:p>
            <a:pPr marL="182563" indent="-182563" algn="l">
              <a:lnSpc>
                <a:spcPts val="2200"/>
              </a:lnSpc>
              <a:spcBef>
                <a:spcPts val="0"/>
              </a:spcBef>
              <a:buClr>
                <a:srgbClr val="7F1C58"/>
              </a:buClr>
              <a:buFont typeface="Arial" panose="020B0604020202020204" pitchFamily="34" charset="0"/>
              <a:buChar char="•"/>
            </a:pPr>
            <a:r>
              <a:rPr lang="en-GB" sz="2000" dirty="0">
                <a:solidFill>
                  <a:srgbClr val="595959"/>
                </a:solidFill>
                <a:latin typeface="+mn-lt"/>
                <a:ea typeface="Lato Light" panose="020F0502020204030203" pitchFamily="34" charset="0"/>
                <a:cs typeface="Mukta ExtraLight" panose="020B0000000000000000" pitchFamily="34" charset="77"/>
              </a:rPr>
              <a:t>Ανθρωπισμός</a:t>
            </a:r>
          </a:p>
        </p:txBody>
      </p:sp>
    </p:spTree>
    <p:extLst>
      <p:ext uri="{BB962C8B-B14F-4D97-AF65-F5344CB8AC3E}">
        <p14:creationId xmlns:p14="http://schemas.microsoft.com/office/powerpoint/2010/main" val="7145202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36183" y="1214448"/>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53985" y="1950363"/>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p:cNvCxnSpPr>
          <p:nvPr/>
        </p:nvCxnSpPr>
        <p:spPr>
          <a:xfrm>
            <a:off x="5975194" y="3134250"/>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897998" y="4084915"/>
            <a:ext cx="257111" cy="58701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78091" y="5242531"/>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921814" y="1578781"/>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54173" y="1817753"/>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40807" y="2325701"/>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88901" y="2373838"/>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68511" y="3012757"/>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5006525" y="5040237"/>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746017" y="3930330"/>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93C5D79B-A3D5-FE9E-6C85-E84682B826DC}"/>
              </a:ext>
            </a:extLst>
          </p:cNvPr>
          <p:cNvGrpSpPr/>
          <p:nvPr/>
        </p:nvGrpSpPr>
        <p:grpSpPr>
          <a:xfrm>
            <a:off x="5850653" y="1391096"/>
            <a:ext cx="5803153" cy="1118636"/>
            <a:chOff x="1416598" y="716055"/>
            <a:chExt cx="5803153" cy="1118636"/>
          </a:xfrm>
        </p:grpSpPr>
        <p:sp>
          <p:nvSpPr>
            <p:cNvPr id="38" name="Rounded Rectangle 37">
              <a:extLst>
                <a:ext uri="{FF2B5EF4-FFF2-40B4-BE49-F238E27FC236}">
                  <a16:creationId xmlns:a16="http://schemas.microsoft.com/office/drawing/2014/main" id="{70231608-E29F-49E6-6116-44D8BDC095C3}"/>
                </a:ext>
              </a:extLst>
            </p:cNvPr>
            <p:cNvSpPr/>
            <p:nvPr/>
          </p:nvSpPr>
          <p:spPr>
            <a:xfrm>
              <a:off x="1790269" y="716055"/>
              <a:ext cx="5429482" cy="96071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49">
              <a:extLst>
                <a:ext uri="{FF2B5EF4-FFF2-40B4-BE49-F238E27FC236}">
                  <a16:creationId xmlns:a16="http://schemas.microsoft.com/office/drawing/2014/main" id="{15F92187-0CE2-FB92-A81A-E4EC5A502769}"/>
                </a:ext>
              </a:extLst>
            </p:cNvPr>
            <p:cNvSpPr txBox="1"/>
            <p:nvPr/>
          </p:nvSpPr>
          <p:spPr>
            <a:xfrm>
              <a:off x="2262037" y="815822"/>
              <a:ext cx="4793090" cy="1018869"/>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Υποσχεθείτε μόνο πράγματα που μπορείτε να τηρήσετε. Ξεκαθαρίστε τι ξέρετε και τι όχι. Σε μια κρίση, όλοι οδηγούν μόνο με το βλέμμα.</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40" name="Graphic 8">
              <a:extLst>
                <a:ext uri="{FF2B5EF4-FFF2-40B4-BE49-F238E27FC236}">
                  <a16:creationId xmlns:a16="http://schemas.microsoft.com/office/drawing/2014/main" id="{B721E3AF-E02E-0879-3366-900C18602E92}"/>
                </a:ext>
              </a:extLst>
            </p:cNvPr>
            <p:cNvGrpSpPr/>
            <p:nvPr/>
          </p:nvGrpSpPr>
          <p:grpSpPr>
            <a:xfrm>
              <a:off x="1416598" y="919839"/>
              <a:ext cx="701992" cy="701724"/>
              <a:chOff x="4817897" y="694433"/>
              <a:chExt cx="1446392" cy="1445841"/>
            </a:xfrm>
          </p:grpSpPr>
          <p:sp>
            <p:nvSpPr>
              <p:cNvPr id="42" name="Freeform 41">
                <a:extLst>
                  <a:ext uri="{FF2B5EF4-FFF2-40B4-BE49-F238E27FC236}">
                    <a16:creationId xmlns:a16="http://schemas.microsoft.com/office/drawing/2014/main" id="{A4927879-73B5-97CA-A3E7-DB9224EC780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3" name="Freeform 42">
                <a:extLst>
                  <a:ext uri="{FF2B5EF4-FFF2-40B4-BE49-F238E27FC236}">
                    <a16:creationId xmlns:a16="http://schemas.microsoft.com/office/drawing/2014/main" id="{12CA2BD1-9288-06DC-D0A3-81CE19AFB78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1" name="TextBox 40">
              <a:extLst>
                <a:ext uri="{FF2B5EF4-FFF2-40B4-BE49-F238E27FC236}">
                  <a16:creationId xmlns:a16="http://schemas.microsoft.com/office/drawing/2014/main" id="{19246679-B828-DC76-2A0B-1AAF5B9C84B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18" name="Group 17">
            <a:extLst>
              <a:ext uri="{FF2B5EF4-FFF2-40B4-BE49-F238E27FC236}">
                <a16:creationId xmlns:a16="http://schemas.microsoft.com/office/drawing/2014/main" id="{D0052DA2-479C-FF60-88DB-7F140B1DCF4C}"/>
              </a:ext>
            </a:extLst>
          </p:cNvPr>
          <p:cNvGrpSpPr/>
          <p:nvPr/>
        </p:nvGrpSpPr>
        <p:grpSpPr>
          <a:xfrm>
            <a:off x="6557879" y="2446598"/>
            <a:ext cx="5399262" cy="1562559"/>
            <a:chOff x="1416598" y="664971"/>
            <a:chExt cx="5399262" cy="1562559"/>
          </a:xfrm>
        </p:grpSpPr>
        <p:sp>
          <p:nvSpPr>
            <p:cNvPr id="26" name="Rounded Rectangle 25">
              <a:extLst>
                <a:ext uri="{FF2B5EF4-FFF2-40B4-BE49-F238E27FC236}">
                  <a16:creationId xmlns:a16="http://schemas.microsoft.com/office/drawing/2014/main" id="{208FCF1E-2BA2-0198-13F5-408E1753664C}"/>
                </a:ext>
              </a:extLst>
            </p:cNvPr>
            <p:cNvSpPr/>
            <p:nvPr/>
          </p:nvSpPr>
          <p:spPr>
            <a:xfrm>
              <a:off x="1790269" y="664971"/>
              <a:ext cx="5025591" cy="1458091"/>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49">
              <a:extLst>
                <a:ext uri="{FF2B5EF4-FFF2-40B4-BE49-F238E27FC236}">
                  <a16:creationId xmlns:a16="http://schemas.microsoft.com/office/drawing/2014/main" id="{8166D4AD-6C63-AB7F-A1ED-46457B50E8E6}"/>
                </a:ext>
              </a:extLst>
            </p:cNvPr>
            <p:cNvSpPr txBox="1"/>
            <p:nvPr/>
          </p:nvSpPr>
          <p:spPr>
            <a:xfrm>
              <a:off x="2262036" y="746996"/>
              <a:ext cx="4553824" cy="148053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Σκεφτείτε σε σενάρια. Όταν πρόκειται για το μέλλον, περιγράψτε πιθανά σενάρια και εξηγήστε πώς εσείς και η εταιρεία είναι πιθανό να αντιδράσετε σε αυτά. Αναφέρετε επίσης με σαφήνεια τι θα σήμαινε αυτό για τον εργαζόμενο. Μην υποβαθμίζετε.</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8" name="Graphic 8">
              <a:extLst>
                <a:ext uri="{FF2B5EF4-FFF2-40B4-BE49-F238E27FC236}">
                  <a16:creationId xmlns:a16="http://schemas.microsoft.com/office/drawing/2014/main" id="{26291F35-A553-05E0-2AB0-FE06462FF33F}"/>
                </a:ext>
              </a:extLst>
            </p:cNvPr>
            <p:cNvGrpSpPr/>
            <p:nvPr/>
          </p:nvGrpSpPr>
          <p:grpSpPr>
            <a:xfrm>
              <a:off x="1416598" y="919839"/>
              <a:ext cx="701992" cy="701724"/>
              <a:chOff x="4817897" y="694433"/>
              <a:chExt cx="1446392" cy="1445841"/>
            </a:xfrm>
          </p:grpSpPr>
          <p:sp>
            <p:nvSpPr>
              <p:cNvPr id="30" name="Freeform 29">
                <a:extLst>
                  <a:ext uri="{FF2B5EF4-FFF2-40B4-BE49-F238E27FC236}">
                    <a16:creationId xmlns:a16="http://schemas.microsoft.com/office/drawing/2014/main" id="{29110C42-8FF2-9681-2A9F-D158502C2AC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3C211AF4-DF15-E821-4CBA-2B4F9677DD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9" name="TextBox 28">
              <a:extLst>
                <a:ext uri="{FF2B5EF4-FFF2-40B4-BE49-F238E27FC236}">
                  <a16:creationId xmlns:a16="http://schemas.microsoft.com/office/drawing/2014/main" id="{096402AF-6733-D7E3-C5AB-9AE126C3B1F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9" name="Group 18">
            <a:extLst>
              <a:ext uri="{FF2B5EF4-FFF2-40B4-BE49-F238E27FC236}">
                <a16:creationId xmlns:a16="http://schemas.microsoft.com/office/drawing/2014/main" id="{828DD81B-6116-4BD7-1447-B8D47B6BA0A1}"/>
              </a:ext>
            </a:extLst>
          </p:cNvPr>
          <p:cNvGrpSpPr/>
          <p:nvPr/>
        </p:nvGrpSpPr>
        <p:grpSpPr>
          <a:xfrm>
            <a:off x="5136183" y="5540892"/>
            <a:ext cx="5480805" cy="852305"/>
            <a:chOff x="1416598" y="919839"/>
            <a:chExt cx="5480805" cy="852305"/>
          </a:xfrm>
        </p:grpSpPr>
        <p:sp>
          <p:nvSpPr>
            <p:cNvPr id="20" name="Rounded Rectangle 19">
              <a:extLst>
                <a:ext uri="{FF2B5EF4-FFF2-40B4-BE49-F238E27FC236}">
                  <a16:creationId xmlns:a16="http://schemas.microsoft.com/office/drawing/2014/main" id="{CD400B13-7CD0-914E-C64C-3D1B156E60CB}"/>
                </a:ext>
              </a:extLst>
            </p:cNvPr>
            <p:cNvSpPr/>
            <p:nvPr/>
          </p:nvSpPr>
          <p:spPr>
            <a:xfrm>
              <a:off x="1790269" y="960814"/>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49">
              <a:extLst>
                <a:ext uri="{FF2B5EF4-FFF2-40B4-BE49-F238E27FC236}">
                  <a16:creationId xmlns:a16="http://schemas.microsoft.com/office/drawing/2014/main" id="{317B6557-FABA-0AFE-B065-77FB00EB38FD}"/>
                </a:ext>
              </a:extLst>
            </p:cNvPr>
            <p:cNvSpPr txBox="1"/>
            <p:nvPr/>
          </p:nvSpPr>
          <p:spPr>
            <a:xfrm>
              <a:off x="2279677" y="1087200"/>
              <a:ext cx="4172881"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Παραμείνετε αισιόδοξοι. Προσπαθήστε να είστε ο βράχος στο κύμα. Πάνω απ' όλα, να είστε ρεαλιστές.</a:t>
              </a:r>
            </a:p>
          </p:txBody>
        </p:sp>
        <p:grpSp>
          <p:nvGrpSpPr>
            <p:cNvPr id="22" name="Graphic 8">
              <a:extLst>
                <a:ext uri="{FF2B5EF4-FFF2-40B4-BE49-F238E27FC236}">
                  <a16:creationId xmlns:a16="http://schemas.microsoft.com/office/drawing/2014/main" id="{4334B708-2BEB-87B8-9CD0-594E09BA30DC}"/>
                </a:ext>
              </a:extLst>
            </p:cNvPr>
            <p:cNvGrpSpPr/>
            <p:nvPr/>
          </p:nvGrpSpPr>
          <p:grpSpPr>
            <a:xfrm>
              <a:off x="1416598" y="919839"/>
              <a:ext cx="701992" cy="701724"/>
              <a:chOff x="4817897" y="694433"/>
              <a:chExt cx="1446392" cy="1445841"/>
            </a:xfrm>
          </p:grpSpPr>
          <p:sp>
            <p:nvSpPr>
              <p:cNvPr id="24" name="Freeform 23">
                <a:extLst>
                  <a:ext uri="{FF2B5EF4-FFF2-40B4-BE49-F238E27FC236}">
                    <a16:creationId xmlns:a16="http://schemas.microsoft.com/office/drawing/2014/main" id="{771B3283-EA1A-01F2-6AC9-3599C99A19A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5" name="Freeform 24">
                <a:extLst>
                  <a:ext uri="{FF2B5EF4-FFF2-40B4-BE49-F238E27FC236}">
                    <a16:creationId xmlns:a16="http://schemas.microsoft.com/office/drawing/2014/main" id="{A8A5D2A5-2055-4F86-A2B5-95349C60885E}"/>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3" name="TextBox 22">
              <a:extLst>
                <a:ext uri="{FF2B5EF4-FFF2-40B4-BE49-F238E27FC236}">
                  <a16:creationId xmlns:a16="http://schemas.microsoft.com/office/drawing/2014/main" id="{5E3F5925-8B0B-1D16-8DDD-8D9FB268D70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2" y="430173"/>
            <a:ext cx="3811973"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5 σημαντικές συμβουλές για την ηγεσία στην κρίση</a:t>
            </a:r>
          </a:p>
          <a:p>
            <a:endParaRPr lang="en-US" dirty="0">
              <a:solidFill>
                <a:schemeClr val="bg1"/>
              </a:solidFill>
            </a:endParaRPr>
          </a:p>
          <a:p>
            <a:pPr>
              <a:lnSpc>
                <a:spcPts val="2220"/>
              </a:lnSpc>
              <a:spcBef>
                <a:spcPts val="0"/>
              </a:spcBef>
            </a:pPr>
            <a:r>
              <a:rPr lang="en-US" sz="1800" dirty="0">
                <a:solidFill>
                  <a:schemeClr val="bg1"/>
                </a:solidFill>
              </a:rPr>
              <a:t>Το σημαντικό τώρα είναι να μην απομακρυνθείτε εκείνη τη στιγμή. Αναλάβετε το ρόλο αυτού που ηγείται, που βοηθάει τους άλλους. Αν αναλάβετε ενεργά αυτόν τον ρόλο, θα σας βοηθήσει και εσάς τους ίδιους να αντιμετωπίσετε καλύτερα τον φόβο.</a:t>
            </a:r>
          </a:p>
          <a:p>
            <a:pPr>
              <a:lnSpc>
                <a:spcPts val="2220"/>
              </a:lnSpc>
              <a:spcBef>
                <a:spcPts val="0"/>
              </a:spcBef>
            </a:pPr>
            <a:r>
              <a:rPr lang="en-US" sz="1800" dirty="0">
                <a:solidFill>
                  <a:schemeClr val="bg1"/>
                </a:solidFill>
              </a:rPr>
              <a:t>Η επικοινωνία είναι ζωτικής σημασίας! Εξηγήστε στους υπαλλήλους σας πώς βλέπετε την κατάσταση και ποιες αποφάσεις παίρνετε ή θα πάρετε και κυρίως: εξηγήστε γιατί κάνουν ορισμένα πράγματα.</a:t>
            </a:r>
          </a:p>
          <a:p>
            <a:pPr>
              <a:lnSpc>
                <a:spcPts val="2220"/>
              </a:lnSpc>
              <a:spcBef>
                <a:spcPts val="0"/>
              </a:spcBef>
            </a:pPr>
            <a:r>
              <a:rPr lang="en-US" sz="1800" dirty="0">
                <a:solidFill>
                  <a:schemeClr val="bg1"/>
                </a:solidFill>
              </a:rPr>
              <a:t> </a:t>
            </a:r>
            <a:endParaRPr lang="en-US" sz="2200" dirty="0">
              <a:solidFill>
                <a:schemeClr val="bg1"/>
              </a:solidFill>
            </a:endParaRPr>
          </a:p>
        </p:txBody>
      </p:sp>
      <p:sp>
        <p:nvSpPr>
          <p:cNvPr id="215" name="Rectangle 214">
            <a:extLst>
              <a:ext uri="{FF2B5EF4-FFF2-40B4-BE49-F238E27FC236}">
                <a16:creationId xmlns:a16="http://schemas.microsoft.com/office/drawing/2014/main" id="{13AFE945-1351-4152-C7FB-365CFAADD6FC}"/>
              </a:ext>
            </a:extLst>
          </p:cNvPr>
          <p:cNvSpPr/>
          <p:nvPr/>
        </p:nvSpPr>
        <p:spPr>
          <a:xfrm>
            <a:off x="538194" y="226984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36183" y="492823"/>
            <a:ext cx="5545447" cy="932083"/>
            <a:chOff x="1416598" y="689480"/>
            <a:chExt cx="5545447" cy="932083"/>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854911" y="689480"/>
              <a:ext cx="5107134" cy="8113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344319" y="815866"/>
              <a:ext cx="4172881"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Έχετε τα κότσια να πείτε τι πραγματικά συμβαίνει. Μην το παίζεις κρυφός.</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209" name="Group 208">
            <a:extLst>
              <a:ext uri="{FF2B5EF4-FFF2-40B4-BE49-F238E27FC236}">
                <a16:creationId xmlns:a16="http://schemas.microsoft.com/office/drawing/2014/main" id="{9F3EE3BB-7245-07A5-A397-3510AF879B27}"/>
              </a:ext>
            </a:extLst>
          </p:cNvPr>
          <p:cNvGrpSpPr/>
          <p:nvPr/>
        </p:nvGrpSpPr>
        <p:grpSpPr>
          <a:xfrm>
            <a:off x="5850653" y="4008265"/>
            <a:ext cx="5905245" cy="1636761"/>
            <a:chOff x="1416598" y="559686"/>
            <a:chExt cx="5905245" cy="1636761"/>
          </a:xfrm>
        </p:grpSpPr>
        <p:sp>
          <p:nvSpPr>
            <p:cNvPr id="210" name="Rounded Rectangle 209">
              <a:extLst>
                <a:ext uri="{FF2B5EF4-FFF2-40B4-BE49-F238E27FC236}">
                  <a16:creationId xmlns:a16="http://schemas.microsoft.com/office/drawing/2014/main" id="{BF7EC727-236C-F814-1647-098B43E3B9DF}"/>
                </a:ext>
              </a:extLst>
            </p:cNvPr>
            <p:cNvSpPr/>
            <p:nvPr/>
          </p:nvSpPr>
          <p:spPr>
            <a:xfrm>
              <a:off x="1825569" y="559686"/>
              <a:ext cx="5496274" cy="1461383"/>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TextBox 49">
              <a:extLst>
                <a:ext uri="{FF2B5EF4-FFF2-40B4-BE49-F238E27FC236}">
                  <a16:creationId xmlns:a16="http://schemas.microsoft.com/office/drawing/2014/main" id="{EA68ABA7-EE54-A495-037E-79FE026DB691}"/>
                </a:ext>
              </a:extLst>
            </p:cNvPr>
            <p:cNvSpPr txBox="1"/>
            <p:nvPr/>
          </p:nvSpPr>
          <p:spPr>
            <a:xfrm>
              <a:off x="2297336" y="715913"/>
              <a:ext cx="4798291" cy="1480534"/>
            </a:xfrm>
            <a:prstGeom prst="rect">
              <a:avLst/>
            </a:prstGeom>
            <a:noFill/>
          </p:spPr>
          <p:txBody>
            <a:bodyPr wrap="square" numCol="1" rtlCol="0" anchor="ctr">
              <a:spAutoFit/>
            </a:bodyPr>
            <a:lstStyle/>
            <a:p>
              <a:pPr>
                <a:lnSpc>
                  <a:spcPts val="1800"/>
                </a:lnSpc>
                <a:defRPr/>
              </a:pPr>
              <a:r>
                <a:rPr lang="en-GB" sz="1400" dirty="0">
                  <a:solidFill>
                    <a:schemeClr val="bg1"/>
                  </a:solidFill>
                  <a:ea typeface="Lato Light" panose="020F0502020204030203" pitchFamily="34" charset="0"/>
                  <a:cs typeface="Poppins" pitchFamily="2" charset="77"/>
                </a:rPr>
                <a:t>Αναλάβετε την ευθύνη για τις αποφάσεις σας. Παίρνετε τώρα μια απόφαση με βάση τις καλύτερες δυνατές γνώσεις και πεποιθήσεις σας. Μπορεί εκ των υστέρων να αποδειχθεί λανθασμένη. Αυτό μπορεί να συμβεί, αλλά είναι πάντα καλύτερο από το να μην πάρετε καθόλου μια απόφαση.</a:t>
              </a:r>
            </a:p>
            <a:p>
              <a:pPr>
                <a:lnSpc>
                  <a:spcPts val="1800"/>
                </a:lnSpc>
                <a:defRPr/>
              </a:pPr>
              <a:endParaRPr lang="en-GB" dirty="0">
                <a:solidFill>
                  <a:schemeClr val="bg1"/>
                </a:solidFill>
                <a:ea typeface="Lato Light" panose="020F0502020204030203" pitchFamily="34" charset="0"/>
                <a:cs typeface="Poppins" pitchFamily="2" charset="77"/>
              </a:endParaRPr>
            </a:p>
          </p:txBody>
        </p:sp>
        <p:grpSp>
          <p:nvGrpSpPr>
            <p:cNvPr id="212" name="Graphic 8">
              <a:extLst>
                <a:ext uri="{FF2B5EF4-FFF2-40B4-BE49-F238E27FC236}">
                  <a16:creationId xmlns:a16="http://schemas.microsoft.com/office/drawing/2014/main" id="{DD48C0D9-F5A7-12DA-68DF-B48825FDD44F}"/>
                </a:ext>
              </a:extLst>
            </p:cNvPr>
            <p:cNvGrpSpPr/>
            <p:nvPr/>
          </p:nvGrpSpPr>
          <p:grpSpPr>
            <a:xfrm>
              <a:off x="1416598" y="919839"/>
              <a:ext cx="701992" cy="701724"/>
              <a:chOff x="4817897" y="694433"/>
              <a:chExt cx="1446392" cy="1445841"/>
            </a:xfrm>
          </p:grpSpPr>
          <p:sp>
            <p:nvSpPr>
              <p:cNvPr id="218" name="Freeform 217">
                <a:extLst>
                  <a:ext uri="{FF2B5EF4-FFF2-40B4-BE49-F238E27FC236}">
                    <a16:creationId xmlns:a16="http://schemas.microsoft.com/office/drawing/2014/main" id="{178749CD-A0BC-2623-9C36-25082E6CB5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9" name="Freeform 218">
                <a:extLst>
                  <a:ext uri="{FF2B5EF4-FFF2-40B4-BE49-F238E27FC236}">
                    <a16:creationId xmlns:a16="http://schemas.microsoft.com/office/drawing/2014/main" id="{E47B9158-27BF-09F7-D94A-8B5FEE02EBFA}"/>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3" name="TextBox 212">
              <a:extLst>
                <a:ext uri="{FF2B5EF4-FFF2-40B4-BE49-F238E27FC236}">
                  <a16:creationId xmlns:a16="http://schemas.microsoft.com/office/drawing/2014/main" id="{A7DF3D29-AC58-1149-DD30-7DB7F03E4C7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Tree>
    <p:extLst>
      <p:ext uri="{BB962C8B-B14F-4D97-AF65-F5344CB8AC3E}">
        <p14:creationId xmlns:p14="http://schemas.microsoft.com/office/powerpoint/2010/main" val="35808897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1AA36929-0B40-8451-B108-ED1B6128F7D6}"/>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5733" r="15733"/>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362309"/>
            <a:ext cx="6166418" cy="23841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dirty="0">
                <a:latin typeface="Segoe UI" panose="020B0502040204020203" pitchFamily="34" charset="0"/>
              </a:rPr>
              <a:t>Πώς να ηγείστε σε μια κρίση</a:t>
            </a:r>
          </a:p>
          <a:p>
            <a:pPr>
              <a:lnSpc>
                <a:spcPct val="120000"/>
              </a:lnSpc>
            </a:pPr>
            <a:endParaRPr lang="en-GB" sz="1050" dirty="0">
              <a:latin typeface="Segoe UI" panose="020B0502040204020203" pitchFamily="34" charset="0"/>
            </a:endParaRP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 Πηγή: </a:t>
            </a:r>
            <a:r>
              <a:rPr lang="en-GB" sz="2200" dirty="0">
                <a:solidFill>
                  <a:srgbClr val="595959"/>
                </a:solidFill>
                <a:hlinkClick r:id="rId3">
                  <a:extLst>
                    <a:ext uri="{A12FA001-AC4F-418D-AE19-62706E023703}">
                      <ahyp:hlinkClr xmlns:ahyp="http://schemas.microsoft.com/office/drawing/2018/hyperlinkcolor" val="tx"/>
                    </a:ext>
                  </a:extLst>
                </a:hlinkClick>
              </a:rPr>
              <a:t>https://youtu.be/Cxf_SRCcaGo</a:t>
            </a:r>
            <a:endParaRPr lang="en-GB" sz="2200" dirty="0">
              <a:solidFill>
                <a:srgbClr val="595959"/>
              </a:solidFill>
            </a:endParaRPr>
          </a:p>
          <a:p>
            <a:pPr defTabSz="1087636">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20617" y="3110081"/>
            <a:ext cx="5130800" cy="2123658"/>
          </a:xfrm>
          <a:prstGeom prst="rect">
            <a:avLst/>
          </a:prstGeom>
          <a:noFill/>
        </p:spPr>
        <p:txBody>
          <a:bodyPr wrap="square" rtlCol="0">
            <a:spAutoFit/>
          </a:bodyPr>
          <a:lstStyle/>
          <a:p>
            <a:pPr algn="l"/>
            <a:r>
              <a:rPr lang="en-GB" sz="2200" b="0" i="0" dirty="0">
                <a:solidFill>
                  <a:schemeClr val="bg1"/>
                </a:solidFill>
                <a:effectLst/>
                <a:highlight>
                  <a:srgbClr val="F16924"/>
                </a:highlight>
              </a:rPr>
              <a:t> ΔΕΙΤΕ</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200" b="1" dirty="0">
                <a:solidFill>
                  <a:srgbClr val="595959"/>
                </a:solidFill>
              </a:rPr>
              <a:t>Η Amy C. Edmondson </a:t>
            </a:r>
            <a:r>
              <a:rPr lang="en-GB" sz="2200" dirty="0">
                <a:solidFill>
                  <a:srgbClr val="595959"/>
                </a:solidFill>
              </a:rPr>
              <a:t>είναι Αμερικανίδα μελετητής της ηγεσίας, της ομαδικής εργασίας και της οργανωσιακής μάθησης. Είναι καθηγήτρια Novartis στην ηγεσία στο Harvard Business School.</a:t>
            </a:r>
          </a:p>
        </p:txBody>
      </p:sp>
      <p:sp>
        <p:nvSpPr>
          <p:cNvPr id="14" name="Oval 13">
            <a:extLst>
              <a:ext uri="{FF2B5EF4-FFF2-40B4-BE49-F238E27FC236}">
                <a16:creationId xmlns:a16="http://schemas.microsoft.com/office/drawing/2014/main" id="{22647D80-595B-BF51-CF15-31CAD1C39DC6}"/>
              </a:ext>
            </a:extLst>
          </p:cNvPr>
          <p:cNvSpPr/>
          <p:nvPr/>
        </p:nvSpPr>
        <p:spPr>
          <a:xfrm rot="21231927">
            <a:off x="5233764" y="2735398"/>
            <a:ext cx="2601998"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1400" b="1" dirty="0">
                <a:solidFill>
                  <a:schemeClr val="bg1"/>
                </a:solidFill>
              </a:rPr>
              <a:t>ΚΑΝΤΕ </a:t>
            </a:r>
            <a:r>
              <a:rPr lang="en-US" sz="1400" b="1" dirty="0">
                <a:solidFill>
                  <a:schemeClr val="bg1"/>
                </a:solidFill>
              </a:rPr>
              <a:t>ΚΛΙΚ ΓΙΑ ΝΑ </a:t>
            </a:r>
            <a:r>
              <a:rPr lang="en-US" sz="1400" b="1" dirty="0">
                <a:solidFill>
                  <a:schemeClr val="bg1"/>
                </a:solidFill>
                <a:hlinkClick r:id="rId4">
                  <a:extLst>
                    <a:ext uri="{A12FA001-AC4F-418D-AE19-62706E023703}">
                      <ahyp:hlinkClr xmlns:ahyp="http://schemas.microsoft.com/office/drawing/2018/hyperlinkcolor" val="tx"/>
                    </a:ext>
                  </a:extLst>
                </a:hlinkClick>
              </a:rPr>
              <a:t>ΠΑΡΑΚΟΛΟΥΘΉΣΕΤΕ</a:t>
            </a:r>
            <a:endParaRPr lang="en-US" sz="1400" b="1" dirty="0">
              <a:solidFill>
                <a:schemeClr val="bg1"/>
              </a:solidFill>
            </a:endParaRPr>
          </a:p>
        </p:txBody>
      </p:sp>
      <p:sp>
        <p:nvSpPr>
          <p:cNvPr id="16" name="Text Placeholder 15">
            <a:extLst>
              <a:ext uri="{FF2B5EF4-FFF2-40B4-BE49-F238E27FC236}">
                <a16:creationId xmlns:a16="http://schemas.microsoft.com/office/drawing/2014/main" id="{8AB3C843-D371-3F72-2DAF-B860430A8A5D}"/>
              </a:ext>
            </a:extLst>
          </p:cNvPr>
          <p:cNvSpPr>
            <a:spLocks noGrp="1"/>
          </p:cNvSpPr>
          <p:nvPr>
            <p:ph type="body" sz="quarter" idx="16"/>
          </p:nvPr>
        </p:nvSpPr>
        <p:spPr>
          <a:xfrm>
            <a:off x="734714" y="1619348"/>
            <a:ext cx="5130800" cy="1311994"/>
          </a:xfrm>
        </p:spPr>
        <p:txBody>
          <a:bodyPr>
            <a:normAutofit/>
          </a:bodyPr>
          <a:lstStyle/>
          <a:p>
            <a:r>
              <a:rPr lang="en-US" sz="2400" dirty="0"/>
              <a:t>Ο τρόπος που εργαζόμαστε, μια σειρά</a:t>
            </a:r>
            <a:r>
              <a:rPr lang="el-GR" sz="2400" dirty="0"/>
              <a:t> ομιλιών</a:t>
            </a:r>
            <a:r>
              <a:rPr lang="en-US" sz="2400" dirty="0"/>
              <a:t> TED</a:t>
            </a:r>
          </a:p>
          <a:p>
            <a:endParaRPr lang="en-US" dirty="0"/>
          </a:p>
        </p:txBody>
      </p:sp>
      <p:sp>
        <p:nvSpPr>
          <p:cNvPr id="17" name="Rectangle 16">
            <a:extLst>
              <a:ext uri="{FF2B5EF4-FFF2-40B4-BE49-F238E27FC236}">
                <a16:creationId xmlns:a16="http://schemas.microsoft.com/office/drawing/2014/main" id="{63FAF0F0-94FA-7682-892A-7A8BF465F65D}"/>
              </a:ext>
            </a:extLst>
          </p:cNvPr>
          <p:cNvSpPr/>
          <p:nvPr/>
        </p:nvSpPr>
        <p:spPr>
          <a:xfrm>
            <a:off x="734714" y="1475147"/>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73214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600" dirty="0">
                <a:solidFill>
                  <a:schemeClr val="bg1"/>
                </a:solidFill>
              </a:rPr>
              <a:t>Ενώ η προληπτική δράση είναι απαραίτητη στην αρχή, προκειμένου να </a:t>
            </a:r>
            <a:r>
              <a:rPr lang="en-US" sz="1600" dirty="0" err="1">
                <a:solidFill>
                  <a:schemeClr val="bg1"/>
                </a:solidFill>
              </a:rPr>
              <a:t>αναγνωριστούν </a:t>
            </a:r>
            <a:r>
              <a:rPr lang="en-US" sz="1600" dirty="0">
                <a:solidFill>
                  <a:schemeClr val="bg1"/>
                </a:solidFill>
              </a:rPr>
              <a:t>τα σήματα της κρίσης και να γίνουν οι σωστές προετοιμασίες με βάση αυτά - μετά το ξέσπασμα της κρίσης, η έμφαση δίνεται στις αντιδραστικές ικανότητες. Προκειμένου να δημιουργηθεί βιώσιμη ανθεκτικότητα σε κρίσεις, πρέπει να εξαχθούν τα σωστά διδάγματα μετά την κρίση.</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5" y="282511"/>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Ειδικές δεξιότητες που απαιτούνται στα διάφορα στάδια μιας κρίσης</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ΑΝΊΧΝΕΥΣΗ ΣΉΜΑΤΟΣ</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ΠΡΟΕΤΟΙΜΑΣΙΑ</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CONTAINMENT/ </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ΠΕΡΙΟΡΙΣΜΌΣ ΖΗΜΙΏΝ</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857602" y="5210795"/>
            <a:ext cx="1281121"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ΑΝΑΚ</a:t>
            </a:r>
            <a:r>
              <a:rPr lang="el-GR" sz="1600" b="1" dirty="0">
                <a:solidFill>
                  <a:srgbClr val="7F1C58"/>
                </a:solidFill>
                <a:ea typeface="League Spartan" charset="0"/>
                <a:cs typeface="Poppins" pitchFamily="2" charset="77"/>
              </a:rPr>
              <a:t>ΑΜΨΗ</a:t>
            </a:r>
            <a:endParaRPr lang="en-GB" sz="1600" b="1" dirty="0">
              <a:solidFill>
                <a:srgbClr val="7F1C58"/>
              </a:solidFill>
              <a:ea typeface="League Spartan" charset="0"/>
              <a:cs typeface="Poppins" pitchFamily="2" charset="77"/>
            </a:endParaRP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PROACTIVE</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Αντιδραστικό</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ΚΡΙΣΗ</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ΜΑΘΗΣΗ</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REACTIVE</a:t>
            </a:r>
          </a:p>
        </p:txBody>
      </p:sp>
    </p:spTree>
    <p:extLst>
      <p:ext uri="{BB962C8B-B14F-4D97-AF65-F5344CB8AC3E}">
        <p14:creationId xmlns:p14="http://schemas.microsoft.com/office/powerpoint/2010/main" val="29230939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Πολύ λίγοι μάνατζερ συνδυάζουν όλες τις απαραίτητες προϋποθέσεις για την αποτελεσματική διαχείριση σε διάφορες φάσεις κρίσεων σε ένα άτομο. </a:t>
            </a:r>
          </a:p>
          <a:p>
            <a:pPr marL="12700" indent="-12700"/>
            <a:r>
              <a:rPr lang="en-US" dirty="0">
                <a:solidFill>
                  <a:schemeClr val="bg1"/>
                </a:solidFill>
              </a:rPr>
              <a:t>Οι ρόλοι που πρέπει να αναλάβουν είναι εξαιρετικά διαφορετικοί.</a:t>
            </a:r>
          </a:p>
          <a:p>
            <a:pPr marL="12700" indent="-12700"/>
            <a:r>
              <a:rPr lang="en-US" dirty="0">
                <a:solidFill>
                  <a:schemeClr val="bg1"/>
                </a:solidFill>
              </a:rPr>
              <a:t>Η τέχνη είναι να γνωρίζετε τις δικές σας δυνάμεις - και, ακόμη πιο σημαντικό, τις δικές σας αδυναμίες - στις επιμέρους φάσεις και να δημιουργήσετε μια ομάδα διαχείρισης κρίσεων - αν χρειαστεί, με εξωτερική υποστήριξη.</a:t>
            </a: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Επισκόπηση των δεξιοτήτων που απαιτούνται κατά τη διάρκεια μιας κρίσης</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81679"/>
            <a:ext cx="2545416" cy="61460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b="1" dirty="0">
                <a:solidFill>
                  <a:schemeClr val="tx2"/>
                </a:solidFill>
                <a:ea typeface="League Spartan" charset="0"/>
                <a:cs typeface="Poppins" pitchFamily="2" charset="77"/>
              </a:rPr>
              <a:t>ΠΡΙΝ ΤΗΝ ΚΡΙΣΗ</a:t>
            </a:r>
            <a:endParaRPr lang="en-GB" b="1" dirty="0">
              <a:solidFill>
                <a:schemeClr val="tx2"/>
              </a:solidFill>
              <a:ea typeface="League Spartan" charset="0"/>
              <a:cs typeface="Poppins" pitchFamily="2" charset="77"/>
            </a:endParaRP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4062882"/>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b="1" dirty="0">
                <a:solidFill>
                  <a:schemeClr val="tx2"/>
                </a:solidFill>
                <a:ea typeface="League Spartan" charset="0"/>
                <a:cs typeface="Poppins" pitchFamily="2" charset="77"/>
              </a:rPr>
              <a:t>ΚΑΤΑ ΤΗ ΔΙΑΡΚΕΙΑ ΤΗΣ ΚΡΙΣΗΣ</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sz="2000" b="1" dirty="0">
                <a:solidFill>
                  <a:schemeClr val="tx2"/>
                </a:solidFill>
                <a:ea typeface="League Spartan" charset="0"/>
                <a:cs typeface="Poppins" pitchFamily="2" charset="77"/>
              </a:rPr>
              <a:t>ΜΕΤΑ ΑΠΌ ΤΗΝ ΚΡΙΣΗ</a:t>
            </a:r>
            <a:endParaRPr lang="en-US" sz="2000"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ΜΑΘΗΣΗ</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46202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Ανίχνευση </a:t>
            </a:r>
          </a:p>
          <a:p>
            <a:pPr marL="285750" indent="-285750">
              <a:lnSpc>
                <a:spcPts val="1960"/>
              </a:lnSpc>
              <a:spcBef>
                <a:spcPts val="0"/>
              </a:spcBef>
              <a:buFont typeface="Arial" panose="020B0604020202020204" pitchFamily="34" charset="0"/>
              <a:buChar char="•"/>
            </a:pPr>
            <a:r>
              <a:rPr lang="en-US" sz="1800" dirty="0"/>
              <a:t>Περιέχει</a:t>
            </a:r>
          </a:p>
          <a:p>
            <a:pPr marL="285750" indent="-285750">
              <a:lnSpc>
                <a:spcPts val="1960"/>
              </a:lnSpc>
              <a:spcBef>
                <a:spcPts val="0"/>
              </a:spcBef>
              <a:buFont typeface="Arial" panose="020B0604020202020204" pitchFamily="34" charset="0"/>
              <a:buChar char="•"/>
            </a:pPr>
            <a:r>
              <a:rPr lang="en-US" sz="1800" dirty="0"/>
              <a:t>Ανάκτηση</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46202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Συνέχεια</a:t>
            </a:r>
          </a:p>
          <a:p>
            <a:pPr marL="285750" indent="-285750">
              <a:lnSpc>
                <a:spcPts val="1960"/>
              </a:lnSpc>
              <a:spcBef>
                <a:spcPts val="0"/>
              </a:spcBef>
              <a:buFont typeface="Arial" panose="020B0604020202020204" pitchFamily="34" charset="0"/>
              <a:buChar char="•"/>
            </a:pPr>
            <a:r>
              <a:rPr lang="en-US" sz="1800" dirty="0"/>
              <a:t>Διαμόρφωση αναμνήσεων</a:t>
            </a:r>
          </a:p>
          <a:p>
            <a:pPr marL="285750" indent="-285750">
              <a:lnSpc>
                <a:spcPts val="1960"/>
              </a:lnSpc>
              <a:spcBef>
                <a:spcPts val="0"/>
              </a:spcBef>
              <a:buFont typeface="Arial" panose="020B0604020202020204" pitchFamily="34" charset="0"/>
              <a:buChar char="•"/>
            </a:pPr>
            <a:r>
              <a:rPr lang="en-US" sz="1800" dirty="0"/>
              <a:t>Αξιολόγηση της αποτελεσματικότητας</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Μαθαίνοντας από τις αποτυχίες</a:t>
            </a:r>
          </a:p>
          <a:p>
            <a:pPr marL="285750" indent="-285750">
              <a:lnSpc>
                <a:spcPts val="1960"/>
              </a:lnSpc>
              <a:spcBef>
                <a:spcPts val="0"/>
              </a:spcBef>
              <a:buFont typeface="Arial" panose="020B0604020202020204" pitchFamily="34" charset="0"/>
              <a:buChar char="•"/>
            </a:pPr>
            <a:r>
              <a:rPr lang="en-US" sz="1800" dirty="0"/>
              <a:t>Εφαρμογή των σωστών μέτρων</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046396" y="4462022"/>
            <a:ext cx="2492564" cy="164590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GB" sz="1400" dirty="0"/>
              <a:t>Σάρωση</a:t>
            </a:r>
          </a:p>
          <a:p>
            <a:pPr marL="285750" indent="-285750">
              <a:lnSpc>
                <a:spcPts val="1960"/>
              </a:lnSpc>
              <a:spcBef>
                <a:spcPts val="0"/>
              </a:spcBef>
              <a:buFont typeface="Arial" panose="020B0604020202020204" pitchFamily="34" charset="0"/>
              <a:buChar char="•"/>
            </a:pPr>
            <a:r>
              <a:rPr lang="en-GB" sz="1400" dirty="0"/>
              <a:t>Αξιολόγηση της κατάστασης</a:t>
            </a:r>
          </a:p>
          <a:p>
            <a:pPr marL="285750" indent="-285750">
              <a:lnSpc>
                <a:spcPts val="1960"/>
              </a:lnSpc>
              <a:spcBef>
                <a:spcPts val="0"/>
              </a:spcBef>
              <a:buFont typeface="Arial" panose="020B0604020202020204" pitchFamily="34" charset="0"/>
              <a:buChar char="•"/>
            </a:pPr>
            <a:r>
              <a:rPr lang="en-GB" sz="1400" dirty="0"/>
              <a:t>Σχεδιασμός εργαλείων &amp; συστημάτων</a:t>
            </a:r>
          </a:p>
          <a:p>
            <a:pPr marL="285750" indent="-285750">
              <a:lnSpc>
                <a:spcPts val="1960"/>
              </a:lnSpc>
              <a:spcBef>
                <a:spcPts val="0"/>
              </a:spcBef>
              <a:buFont typeface="Arial" panose="020B0604020202020204" pitchFamily="34" charset="0"/>
              <a:buChar char="•"/>
            </a:pPr>
            <a:r>
              <a:rPr lang="en-GB" sz="1400" dirty="0"/>
              <a:t>Παρακολούθηση</a:t>
            </a:r>
          </a:p>
        </p:txBody>
      </p:sp>
    </p:spTree>
    <p:extLst>
      <p:ext uri="{BB962C8B-B14F-4D97-AF65-F5344CB8AC3E}">
        <p14:creationId xmlns:p14="http://schemas.microsoft.com/office/powerpoint/2010/main" val="6426673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r>
              <a:rPr lang="en-US" sz="2800" dirty="0" err="1"/>
              <a:t>Γι</a:t>
            </a:r>
            <a:r>
              <a:rPr lang="en-US" sz="2800" dirty="0"/>
              <a:t>ατί είναι ιδιαίτερο το </a:t>
            </a:r>
            <a:r>
              <a:rPr lang="el-GR" sz="2800" b="1" dirty="0"/>
              <a:t>ΠΡΟΓΡΑΜΜΑ ΜΑΘΗΜΑΤΩΝ ΚΑΙ ΤΟ ΠΑΚΕΤΟ ΕΠΑΓΓΕΛΜΑΤΙΚΗΑ ΕΚΠΑΙΔΕΥΣΗΣ ΚΑΙ ΚΑΤΑΡΤΙΣΗΣ ΤΟΥ ΕΡΓΟΥ </a:t>
            </a:r>
            <a:r>
              <a:rPr lang="en-US" sz="2800" b="1" dirty="0"/>
              <a:t>SECURE</a:t>
            </a:r>
            <a:r>
              <a:rPr lang="en-US" sz="2800" dirty="0"/>
              <a:t>;</a:t>
            </a:r>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latin typeface="Calibri" panose="020F0502020204030204" pitchFamily="34" charset="0"/>
                <a:ea typeface="Calibri" panose="020F0502020204030204" pitchFamily="34" charset="0"/>
                <a:cs typeface="Times New Roman" panose="02020603050405020304" pitchFamily="18" charset="0"/>
              </a:rPr>
              <a:t>Το </a:t>
            </a:r>
            <a:r>
              <a:rPr lang="el-GR" sz="1800" dirty="0">
                <a:latin typeface="Calibri" panose="020F0502020204030204" pitchFamily="34" charset="0"/>
                <a:ea typeface="Calibri" panose="020F0502020204030204" pitchFamily="34" charset="0"/>
                <a:cs typeface="Times New Roman" panose="02020603050405020304" pitchFamily="18" charset="0"/>
              </a:rPr>
              <a:t>ΠΡΟΓΡΑΜΜΑ ΜΑΘΗΜΑΤΩΝ ΚΑΙ ΤΟ ΠΑΚΕΤΟ ΕΠΑΓΓΕΛΜΑΤΙΚΗΣ ΕΚΠΑΙΔΕΥΣΗΣ ΚΑΙ ΚΑΤΑΡΤΙΣΗΣ ΤΟΥ ΕΡΓΟΥ </a:t>
            </a:r>
            <a:r>
              <a:rPr lang="en-US" sz="1800" dirty="0">
                <a:latin typeface="Calibri" panose="020F0502020204030204" pitchFamily="34" charset="0"/>
                <a:ea typeface="Calibri" panose="020F0502020204030204" pitchFamily="34" charset="0"/>
                <a:cs typeface="Times New Roman" panose="02020603050405020304" pitchFamily="18" charset="0"/>
              </a:rPr>
              <a:t>SECURE </a:t>
            </a:r>
            <a:r>
              <a:rPr lang="en-US" sz="1800" dirty="0" err="1">
                <a:latin typeface="Calibri" panose="020F0502020204030204" pitchFamily="34" charset="0"/>
                <a:ea typeface="Calibri" panose="020F0502020204030204" pitchFamily="34" charset="0"/>
                <a:cs typeface="Times New Roman" panose="02020603050405020304" pitchFamily="18" charset="0"/>
              </a:rPr>
              <a:t>είν</a:t>
            </a:r>
            <a:r>
              <a:rPr lang="en-US" sz="1800" dirty="0">
                <a:latin typeface="Calibri" panose="020F0502020204030204" pitchFamily="34" charset="0"/>
                <a:ea typeface="Calibri" panose="020F0502020204030204" pitchFamily="34" charset="0"/>
                <a:cs typeface="Times New Roman" panose="02020603050405020304" pitchFamily="18" charset="0"/>
              </a:rPr>
              <a:t>αι η πρώτη ολιστική προσέγγιση ΕΕΚ για την αντιμετώπιση της έγκαιρης ανίχνευσης και επίλυσης κρίσεων με βάση ένα πλαίσιο που αναπτύχθηκε ειδικά για ΜΜΕ. </a:t>
            </a:r>
            <a:r>
              <a:rPr lang="en-US" sz="1800" dirty="0" err="1">
                <a:latin typeface="Calibri" panose="020F0502020204030204" pitchFamily="34" charset="0"/>
                <a:ea typeface="Calibri" panose="020F0502020204030204" pitchFamily="34" charset="0"/>
                <a:cs typeface="Times New Roman" panose="02020603050405020304" pitchFamily="18" charset="0"/>
              </a:rPr>
              <a:t>Αυτό</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το</a:t>
            </a:r>
            <a:r>
              <a:rPr lang="en-US" sz="1800" dirty="0">
                <a:latin typeface="Calibri" panose="020F0502020204030204" pitchFamily="34" charset="0"/>
                <a:ea typeface="Calibri" panose="020F0502020204030204" pitchFamily="34" charset="0"/>
                <a:cs typeface="Times New Roman" panose="02020603050405020304" pitchFamily="18" charset="0"/>
              </a:rPr>
              <a:t> επ</a:t>
            </a:r>
            <a:r>
              <a:rPr lang="en-US" sz="1800" dirty="0" err="1">
                <a:latin typeface="Calibri" panose="020F0502020204030204" pitchFamily="34" charset="0"/>
                <a:ea typeface="Calibri" panose="020F0502020204030204" pitchFamily="34" charset="0"/>
                <a:cs typeface="Times New Roman" panose="02020603050405020304" pitchFamily="18" charset="0"/>
              </a:rPr>
              <a:t>ιτυγχάνει</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συνδυάζοντ</a:t>
            </a:r>
            <a:r>
              <a:rPr lang="en-US" sz="1800" dirty="0">
                <a:latin typeface="Calibri" panose="020F0502020204030204" pitchFamily="34" charset="0"/>
                <a:ea typeface="Calibri" panose="020F0502020204030204" pitchFamily="34" charset="0"/>
                <a:cs typeface="Times New Roman" panose="02020603050405020304" pitchFamily="18" charset="0"/>
              </a:rPr>
              <a:t>ας μια προσέγγιση βασισμένη σε προγράμματα σπουδών, η οποία μπορεί να υιοθετηθεί στη διδασκαλία και την κατάρτιση </a:t>
            </a:r>
            <a:r>
              <a:rPr lang="el-GR" sz="1800" dirty="0">
                <a:latin typeface="Calibri" panose="020F0502020204030204" pitchFamily="34" charset="0"/>
                <a:ea typeface="Calibri" panose="020F0502020204030204" pitchFamily="34" charset="0"/>
                <a:cs typeface="Times New Roman" panose="02020603050405020304" pitchFamily="18" charset="0"/>
              </a:rPr>
              <a:t>στο πλαίσιο της </a:t>
            </a:r>
            <a:r>
              <a:rPr lang="en-US" sz="1800" dirty="0">
                <a:latin typeface="Calibri" panose="020F0502020204030204" pitchFamily="34" charset="0"/>
                <a:ea typeface="Calibri" panose="020F0502020204030204" pitchFamily="34" charset="0"/>
                <a:cs typeface="Times New Roman" panose="02020603050405020304" pitchFamily="18" charset="0"/>
              </a:rPr>
              <a:t>ΕΕΚ, </a:t>
            </a:r>
            <a:r>
              <a:rPr lang="en-US" sz="1800" dirty="0" err="1">
                <a:latin typeface="Calibri" panose="020F0502020204030204" pitchFamily="34" charset="0"/>
                <a:ea typeface="Calibri" panose="020F0502020204030204" pitchFamily="34" charset="0"/>
                <a:cs typeface="Times New Roman" panose="02020603050405020304" pitchFamily="18" charset="0"/>
              </a:rPr>
              <a:t>με</a:t>
            </a: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err="1">
                <a:latin typeface="Calibri" panose="020F0502020204030204" pitchFamily="34" charset="0"/>
                <a:ea typeface="Calibri" panose="020F0502020204030204" pitchFamily="34" charset="0"/>
                <a:cs typeface="Times New Roman" panose="02020603050405020304" pitchFamily="18" charset="0"/>
              </a:rPr>
              <a:t>μι</a:t>
            </a:r>
            <a:r>
              <a:rPr lang="en-US" sz="1800" dirty="0">
                <a:latin typeface="Calibri" panose="020F0502020204030204" pitchFamily="34" charset="0"/>
                <a:ea typeface="Calibri" panose="020F0502020204030204" pitchFamily="34" charset="0"/>
                <a:cs typeface="Times New Roman" panose="02020603050405020304" pitchFamily="18" charset="0"/>
              </a:rPr>
              <a:t>α προσέγγιση</a:t>
            </a:r>
            <a:r>
              <a:rPr lang="el-GR" sz="1800" dirty="0">
                <a:latin typeface="Calibri" panose="020F0502020204030204" pitchFamily="34" charset="0"/>
                <a:ea typeface="Calibri" panose="020F0502020204030204" pitchFamily="34" charset="0"/>
                <a:cs typeface="Times New Roman" panose="02020603050405020304" pitchFamily="18" charset="0"/>
              </a:rPr>
              <a:t> που βασίζεται σε ενότητες</a:t>
            </a:r>
            <a:r>
              <a:rPr lang="en-US" sz="1800" dirty="0">
                <a:latin typeface="Calibri" panose="020F0502020204030204" pitchFamily="34" charset="0"/>
                <a:ea typeface="Calibri" panose="020F0502020204030204" pitchFamily="34" charset="0"/>
                <a:cs typeface="Times New Roman" panose="02020603050405020304" pitchFamily="18" charset="0"/>
              </a:rPr>
              <a:t>, η οπ</a:t>
            </a:r>
            <a:r>
              <a:rPr lang="en-US" sz="1800" dirty="0" err="1">
                <a:latin typeface="Calibri" panose="020F0502020204030204" pitchFamily="34" charset="0"/>
                <a:ea typeface="Calibri" panose="020F0502020204030204" pitchFamily="34" charset="0"/>
                <a:cs typeface="Times New Roman" panose="02020603050405020304" pitchFamily="18" charset="0"/>
              </a:rPr>
              <a:t>οί</a:t>
            </a:r>
            <a:r>
              <a:rPr lang="en-US" sz="1800" dirty="0">
                <a:latin typeface="Calibri" panose="020F0502020204030204" pitchFamily="34" charset="0"/>
                <a:ea typeface="Calibri" panose="020F0502020204030204" pitchFamily="34" charset="0"/>
                <a:cs typeface="Times New Roman" panose="02020603050405020304" pitchFamily="18" charset="0"/>
              </a:rPr>
              <a:t>α είναι ιδιαίτερα χρήσιμη για τους συμβούλους </a:t>
            </a:r>
            <a:r>
              <a:rPr lang="el-GR" sz="1800" dirty="0">
                <a:latin typeface="Calibri" panose="020F0502020204030204" pitchFamily="34" charset="0"/>
                <a:ea typeface="Calibri" panose="020F0502020204030204" pitchFamily="34" charset="0"/>
                <a:cs typeface="Times New Roman" panose="02020603050405020304" pitchFamily="18" charset="0"/>
              </a:rPr>
              <a:t>επιχειρήσεων </a:t>
            </a:r>
            <a:r>
              <a:rPr lang="en-US" sz="1800" dirty="0">
                <a:latin typeface="Calibri" panose="020F0502020204030204" pitchFamily="34" charset="0"/>
                <a:ea typeface="Calibri" panose="020F0502020204030204" pitchFamily="34" charset="0"/>
                <a:cs typeface="Times New Roman" panose="02020603050405020304" pitchFamily="18" charset="0"/>
              </a:rPr>
              <a:t>και </a:t>
            </a:r>
            <a:r>
              <a:rPr lang="en-US" sz="1800" dirty="0" err="1">
                <a:latin typeface="Calibri" panose="020F0502020204030204" pitchFamily="34" charset="0"/>
                <a:ea typeface="Calibri" panose="020F0502020204030204" pitchFamily="34" charset="0"/>
                <a:cs typeface="Times New Roman" panose="02020603050405020304" pitchFamily="18" charset="0"/>
              </a:rPr>
              <a:t>γι</a:t>
            </a:r>
            <a:r>
              <a:rPr lang="en-US" sz="1800" dirty="0">
                <a:latin typeface="Calibri" panose="020F0502020204030204" pitchFamily="34" charset="0"/>
                <a:ea typeface="Calibri" panose="020F0502020204030204" pitchFamily="34" charset="0"/>
                <a:cs typeface="Times New Roman" panose="02020603050405020304" pitchFamily="18" charset="0"/>
              </a:rPr>
              <a:t>α χρήση απευθείας από ΜΜΕ και </a:t>
            </a:r>
            <a:r>
              <a:rPr lang="el-GR" sz="1800" dirty="0">
                <a:latin typeface="Calibri" panose="020F0502020204030204" pitchFamily="34" charset="0"/>
                <a:ea typeface="Calibri" panose="020F0502020204030204" pitchFamily="34" charset="0"/>
                <a:cs typeface="Times New Roman" panose="02020603050405020304" pitchFamily="18" charset="0"/>
              </a:rPr>
              <a:t> επιχειρηματίες</a:t>
            </a:r>
            <a:r>
              <a:rPr lang="en-US" sz="1800" dirty="0">
                <a:latin typeface="Calibri" panose="020F0502020204030204" pitchFamily="34" charset="0"/>
                <a:ea typeface="Calibri" panose="020F0502020204030204" pitchFamily="34" charset="0"/>
                <a:cs typeface="Times New Roman" panose="02020603050405020304" pitchFamily="18" charset="0"/>
              </a:rPr>
              <a:t>.</a:t>
            </a:r>
            <a:endParaRPr lang="en-IE" sz="1800" dirty="0">
              <a:latin typeface="Calibri" panose="020F0502020204030204" pitchFamily="34" charset="0"/>
              <a:ea typeface="Calibri" panose="020F0502020204030204" pitchFamily="34" charset="0"/>
              <a:cs typeface="Times New Roman" panose="02020603050405020304" pitchFamily="18" charset="0"/>
            </a:endParaRPr>
          </a:p>
          <a:p>
            <a:pPr>
              <a:lnSpc>
                <a:spcPts val="2260"/>
              </a:lnSpc>
              <a:spcBef>
                <a:spcPts val="0"/>
              </a:spcBef>
            </a:pPr>
            <a:endParaRPr lang="en-US" dirty="0"/>
          </a:p>
        </p:txBody>
      </p:sp>
      <p:pic>
        <p:nvPicPr>
          <p:cNvPr id="5" name="Picture 4">
            <a:extLst>
              <a:ext uri="{FF2B5EF4-FFF2-40B4-BE49-F238E27FC236}">
                <a16:creationId xmlns:a16="http://schemas.microsoft.com/office/drawing/2014/main" id="{96790D88-FFC1-4BD9-5906-A5CF31CC290C}"/>
              </a:ext>
            </a:extLst>
          </p:cNvPr>
          <p:cNvPicPr>
            <a:picLocks noChangeAspect="1"/>
          </p:cNvPicPr>
          <p:nvPr/>
        </p:nvPicPr>
        <p:blipFill>
          <a:blip r:embed="rId2"/>
          <a:stretch>
            <a:fillRect/>
          </a:stretch>
        </p:blipFill>
        <p:spPr>
          <a:xfrm>
            <a:off x="7840668" y="1785447"/>
            <a:ext cx="4255756" cy="3647789"/>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Καταιγισμός ιδεών για τους τομείς κινδύνου</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Οι πολιτικές και οι διαδικασίες για την πρόβλεψη, την αξιολόγηση και τη διαχείριση των κινδύνων είναι σημαντικές.  Αλλά αν οι ηγέτες δεν θέτουν τις σωστές ερωτήσεις, αν δεν αναζητούν την ποικιλομορφία των απόψεων και των προοπτικών και αν δεν ενεργούν με ακεραιότητα, αυτοί οι κανόνες δεν θα κάνουν καμία διαφορά.</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Η ηγετική στάση είναι το κλειδί</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171890" y="2932607"/>
            <a:ext cx="1677657" cy="24840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ναι αντανακλαστικός</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ασχοληθείτε με την πολυπλοκότητα</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να αποφεύγετε τις σπασμωδικές κινήσεις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αντιδράσεις -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φαινόμενο εκκρεμούς</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στε πρόθυμοι να προκαλέσετε</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και να προκαλείται</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549771" cy="40962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Αυτογνωσία και πρότυπα καλής ηγεσίας</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Να αντιμετωπίζετε τα λάθη και να μαθαίνετε από αυτά</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Ποιος κρατάει τον καθρέφτη; </a:t>
            </a:r>
          </a:p>
          <a:p>
            <a:pPr marL="571500" indent="-355600" algn="l">
              <a:lnSpc>
                <a:spcPts val="2240"/>
              </a:lnSpc>
              <a:spcBef>
                <a:spcPts val="225"/>
              </a:spcBef>
              <a:buClr>
                <a:srgbClr val="F16924"/>
              </a:buClr>
              <a:buFont typeface="Wingdings" panose="05000000000000000000" pitchFamily="2" charset="2"/>
              <a:buChar char="à"/>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Κίνδυνοι, ανθρώπινο δυναμικό, όλες οι λειτουργίες; </a:t>
            </a:r>
            <a:b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Λειτουργεί αυτό επί του παρόντος;</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Διασφάλιση καλής εποπτείας της στρατηγικής και των κινδύνων για τους ανθρώπους </a:t>
            </a:r>
          </a:p>
          <a:p>
            <a:pPr marL="355600" indent="-355600" algn="l">
              <a:lnSpc>
                <a:spcPts val="2240"/>
              </a:lnSpc>
              <a:spcBef>
                <a:spcPts val="225"/>
              </a:spcBef>
              <a:buClr>
                <a:srgbClr val="F16924"/>
              </a:buClr>
              <a:buFont typeface="Arial" panose="020B0604020202020204" pitchFamily="34" charset="0"/>
              <a:buChar char="•"/>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Η διορατικότητα και οι ικανότητες των ανθρώπων στο διοικητικό συμβούλιο;</a:t>
            </a:r>
          </a:p>
        </p:txBody>
      </p:sp>
    </p:spTree>
    <p:extLst>
      <p:ext uri="{BB962C8B-B14F-4D97-AF65-F5344CB8AC3E}">
        <p14:creationId xmlns:p14="http://schemas.microsoft.com/office/powerpoint/2010/main" val="31581312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409"/>
            <a:ext cx="12192000" cy="296004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577548" y="386515"/>
            <a:ext cx="8296646" cy="36972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nSpc>
                <a:spcPts val="1880"/>
              </a:lnSpc>
            </a:pPr>
            <a:r>
              <a:rPr lang="en-US" sz="2000" dirty="0">
                <a:solidFill>
                  <a:schemeClr val="bg1"/>
                </a:solidFill>
              </a:rPr>
              <a:t>Οι ηγέτες χρειάζονται δεξιότητες και ικανότητες για να ηγηθούν κατά τη διάρκεια κρίσεων. Να παρέχουν σταθερότητα, επιβεβαίωση, αυτοπεποίθηση και αίσθηση ελέγχου.</a:t>
            </a:r>
            <a:br>
              <a:rPr lang="en-US" sz="2000" dirty="0">
                <a:solidFill>
                  <a:schemeClr val="bg1"/>
                </a:solidFill>
              </a:rPr>
            </a:br>
            <a:endParaRPr lang="en-US" sz="700" dirty="0">
              <a:solidFill>
                <a:schemeClr val="bg1"/>
              </a:solidFill>
            </a:endParaRPr>
          </a:p>
          <a:p>
            <a:pPr marL="12700" indent="-12700"/>
            <a:r>
              <a:rPr lang="en-US" sz="2000" i="1" dirty="0">
                <a:solidFill>
                  <a:schemeClr val="bg1"/>
                </a:solidFill>
              </a:rPr>
              <a:t>"...οι δύσκολες στιγμές δεν δημιουργούν ηγέτες, ... σας δείχνουν τι είδους ηγέτες έχετε ήδη".  </a:t>
            </a:r>
            <a:r>
              <a:rPr lang="en-US" sz="2000" b="1" dirty="0">
                <a:solidFill>
                  <a:schemeClr val="bg1"/>
                </a:solidFill>
              </a:rPr>
              <a:t>Larry Barton</a:t>
            </a:r>
          </a:p>
          <a:p>
            <a:pPr marL="12700" indent="-12700">
              <a:lnSpc>
                <a:spcPts val="1880"/>
              </a:lnSpc>
            </a:pPr>
            <a:endParaRPr lang="en-US" sz="2000" dirty="0">
              <a:solidFill>
                <a:schemeClr val="bg1"/>
              </a:solidFill>
            </a:endParaRPr>
          </a:p>
          <a:p>
            <a:pPr marL="12700" indent="-12700"/>
            <a:r>
              <a:rPr lang="en-US" sz="2000" dirty="0">
                <a:solidFill>
                  <a:schemeClr val="bg1"/>
                </a:solidFill>
              </a:rPr>
              <a:t>Η ανάπτυξη τόσο των ηγετικών ικανοτήτων όσο και των διοικητικών δεξιοτήτων σας είναι ζωτικής σημασίας για την επιτυχία σας στην κρίση.</a:t>
            </a:r>
          </a:p>
          <a:p>
            <a:pPr marL="12700" indent="-12700"/>
            <a:endParaRPr lang="en-US" sz="2000" dirty="0">
              <a:solidFill>
                <a:schemeClr val="bg1"/>
              </a:solidFill>
            </a:endParaRPr>
          </a:p>
          <a:p>
            <a:pPr marL="12700" indent="-12700"/>
            <a:endParaRPr lang="en-US" sz="2000" dirty="0">
              <a:solidFill>
                <a:schemeClr val="bg1"/>
              </a:solidFill>
            </a:endParaRPr>
          </a:p>
          <a:p>
            <a:pPr marL="12700" indent="-12700"/>
            <a:endParaRPr lang="en-US" sz="2000" dirty="0">
              <a:solidFill>
                <a:schemeClr val="bg1"/>
              </a:solidFill>
            </a:endParaRP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8209" y="344177"/>
            <a:ext cx="2773241" cy="353402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Κατευθυντήριες αρχές για την ηγεσία σε κρίση</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131450" y="1514177"/>
            <a:ext cx="237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9" name="TextBox 32">
            <a:extLst>
              <a:ext uri="{FF2B5EF4-FFF2-40B4-BE49-F238E27FC236}">
                <a16:creationId xmlns:a16="http://schemas.microsoft.com/office/drawing/2014/main" id="{341ADAB7-2377-352A-EA89-E3D9C21F2E0A}"/>
              </a:ext>
            </a:extLst>
          </p:cNvPr>
          <p:cNvSpPr txBox="1"/>
          <p:nvPr/>
        </p:nvSpPr>
        <p:spPr>
          <a:xfrm>
            <a:off x="450994" y="3242185"/>
            <a:ext cx="3686622" cy="3174010"/>
          </a:xfrm>
          <a:prstGeom prst="rect">
            <a:avLst/>
          </a:prstGeom>
          <a:noFill/>
        </p:spPr>
        <p:txBody>
          <a:bodyPr wrap="square" rtlCol="0" anchor="b" anchorCtr="0">
            <a:spAutoFit/>
          </a:bodyPr>
          <a:lstStyle/>
          <a:p>
            <a:pPr marL="363538" indent="-363538">
              <a:lnSpc>
                <a:spcPts val="2240"/>
              </a:lnSpc>
            </a:pPr>
            <a:r>
              <a:rPr lang="en-GB" sz="2200" b="1" dirty="0">
                <a:solidFill>
                  <a:srgbClr val="EDA13E"/>
                </a:solidFill>
                <a:ea typeface="League Spartan" charset="0"/>
                <a:cs typeface="Poppins" pitchFamily="2" charset="77"/>
              </a:rPr>
              <a:t>01 Διαφανής επικοινωνία</a:t>
            </a:r>
          </a:p>
          <a:p>
            <a:pPr marL="363538" indent="-363538">
              <a:lnSpc>
                <a:spcPts val="2140"/>
              </a:lnSpc>
            </a:pPr>
            <a:r>
              <a:rPr lang="en-GB" sz="2000" dirty="0">
                <a:solidFill>
                  <a:srgbClr val="595959"/>
                </a:solidFill>
                <a:ea typeface="Lato Light" panose="020F0502020204030203" pitchFamily="34" charset="0"/>
                <a:cs typeface="Mukta ExtraLight" panose="020B0000000000000000" pitchFamily="34" charset="77"/>
              </a:rPr>
              <a:t>	Δέσμευση για διαφανή και συνεπή εσωτερική και εξωτερική επικοινωνία</a:t>
            </a:r>
          </a:p>
          <a:p>
            <a:pPr marL="363538" indent="-363538">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nSpc>
                <a:spcPts val="2240"/>
              </a:lnSpc>
            </a:pPr>
            <a:r>
              <a:rPr lang="en-GB" sz="2200" b="1" dirty="0">
                <a:solidFill>
                  <a:srgbClr val="B41F7A"/>
                </a:solidFill>
                <a:ea typeface="League Spartan" charset="0"/>
                <a:cs typeface="Poppins" pitchFamily="2" charset="77"/>
              </a:rPr>
              <a:t>02 Άμεση επικοινωνία</a:t>
            </a:r>
          </a:p>
          <a:p>
            <a:pPr marL="363538" indent="-363538">
              <a:lnSpc>
                <a:spcPts val="2140"/>
              </a:lnSpc>
            </a:pPr>
            <a:r>
              <a:rPr lang="en-GB" sz="2000" dirty="0">
                <a:solidFill>
                  <a:srgbClr val="595959"/>
                </a:solidFill>
                <a:ea typeface="Lato Light" panose="020F0502020204030203" pitchFamily="34" charset="0"/>
                <a:cs typeface="Mukta ExtraLight" panose="020B0000000000000000" pitchFamily="34" charset="77"/>
              </a:rPr>
              <a:t>	Παροχή άμεσης και προληπτικής επικοινωνίας</a:t>
            </a:r>
            <a:endParaRPr lang="en-GB" sz="2000" b="1" dirty="0">
              <a:solidFill>
                <a:srgbClr val="B41F7A"/>
              </a:solidFill>
              <a:ea typeface="League Spartan" charset="0"/>
              <a:cs typeface="Poppins" pitchFamily="2" charset="77"/>
            </a:endParaRPr>
          </a:p>
          <a:p>
            <a:pPr marL="363538" indent="-363538">
              <a:lnSpc>
                <a:spcPts val="2240"/>
              </a:lnSpc>
            </a:pPr>
            <a:endParaRPr lang="en-GB" sz="2200" dirty="0">
              <a:solidFill>
                <a:srgbClr val="595959"/>
              </a:solidFill>
              <a:ea typeface="Lato Light" panose="020F0502020204030203" pitchFamily="34" charset="0"/>
              <a:cs typeface="Mukta ExtraLight" panose="020B0000000000000000" pitchFamily="34" charset="77"/>
            </a:endParaRPr>
          </a:p>
          <a:p>
            <a:pPr marL="363538" indent="-363538">
              <a:lnSpc>
                <a:spcPts val="2240"/>
              </a:lnSpc>
            </a:pPr>
            <a:endParaRPr lang="en-GB" sz="2200" b="1" dirty="0">
              <a:solidFill>
                <a:srgbClr val="EDA13E"/>
              </a:solidFill>
              <a:ea typeface="League Spartan" charset="0"/>
              <a:cs typeface="Poppins" pitchFamily="2" charset="77"/>
            </a:endParaRPr>
          </a:p>
        </p:txBody>
      </p:sp>
      <p:grpSp>
        <p:nvGrpSpPr>
          <p:cNvPr id="59" name="Group 58">
            <a:extLst>
              <a:ext uri="{FF2B5EF4-FFF2-40B4-BE49-F238E27FC236}">
                <a16:creationId xmlns:a16="http://schemas.microsoft.com/office/drawing/2014/main" id="{2DCEBB92-F1BD-4549-C3B7-DDA25C778E5C}"/>
              </a:ext>
            </a:extLst>
          </p:cNvPr>
          <p:cNvGrpSpPr/>
          <p:nvPr/>
        </p:nvGrpSpPr>
        <p:grpSpPr>
          <a:xfrm>
            <a:off x="4014974" y="3377184"/>
            <a:ext cx="3749639" cy="3150624"/>
            <a:chOff x="3803271" y="3341058"/>
            <a:chExt cx="3749639" cy="3150624"/>
          </a:xfrm>
        </p:grpSpPr>
        <p:grpSp>
          <p:nvGrpSpPr>
            <p:cNvPr id="15" name="Group 7">
              <a:extLst>
                <a:ext uri="{FF2B5EF4-FFF2-40B4-BE49-F238E27FC236}">
                  <a16:creationId xmlns:a16="http://schemas.microsoft.com/office/drawing/2014/main" id="{98C825ED-6E38-D1AF-BB6A-B3492AD02365}"/>
                </a:ext>
              </a:extLst>
            </p:cNvPr>
            <p:cNvGrpSpPr/>
            <p:nvPr/>
          </p:nvGrpSpPr>
          <p:grpSpPr>
            <a:xfrm>
              <a:off x="3803271" y="3341058"/>
              <a:ext cx="3749639" cy="3150624"/>
              <a:chOff x="5328980" y="1762088"/>
              <a:chExt cx="10943202" cy="9194996"/>
            </a:xfrm>
          </p:grpSpPr>
          <p:grpSp>
            <p:nvGrpSpPr>
              <p:cNvPr id="16" name="Group 5">
                <a:extLst>
                  <a:ext uri="{FF2B5EF4-FFF2-40B4-BE49-F238E27FC236}">
                    <a16:creationId xmlns:a16="http://schemas.microsoft.com/office/drawing/2014/main" id="{35DF0946-400A-A4EE-7E22-8F35662CB36B}"/>
                  </a:ext>
                </a:extLst>
              </p:cNvPr>
              <p:cNvGrpSpPr/>
              <p:nvPr/>
            </p:nvGrpSpPr>
            <p:grpSpPr>
              <a:xfrm>
                <a:off x="7521484" y="5751094"/>
                <a:ext cx="4377764" cy="3211487"/>
                <a:chOff x="12193146" y="2562030"/>
                <a:chExt cx="5221988" cy="3830802"/>
              </a:xfrm>
            </p:grpSpPr>
            <p:sp>
              <p:nvSpPr>
                <p:cNvPr id="36" name="Freeform 1">
                  <a:extLst>
                    <a:ext uri="{FF2B5EF4-FFF2-40B4-BE49-F238E27FC236}">
                      <a16:creationId xmlns:a16="http://schemas.microsoft.com/office/drawing/2014/main" id="{CA340AD7-F76D-A2FE-87E0-19E7783E4442}"/>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F16924"/>
                </a:solidFill>
                <a:ln>
                  <a:noFill/>
                </a:ln>
                <a:effectLst/>
              </p:spPr>
              <p:txBody>
                <a:bodyPr wrap="none" anchor="ctr"/>
                <a:lstStyle/>
                <a:p>
                  <a:endParaRPr lang="en-GB" sz="1400" dirty="0">
                    <a:solidFill>
                      <a:srgbClr val="595959"/>
                    </a:solidFill>
                    <a:latin typeface="+mj-lt"/>
                  </a:endParaRPr>
                </a:p>
              </p:txBody>
            </p:sp>
            <p:sp>
              <p:nvSpPr>
                <p:cNvPr id="37" name="Freeform 2">
                  <a:extLst>
                    <a:ext uri="{FF2B5EF4-FFF2-40B4-BE49-F238E27FC236}">
                      <a16:creationId xmlns:a16="http://schemas.microsoft.com/office/drawing/2014/main" id="{E303FD76-0ADE-517E-08A4-9587C56C42D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44F00"/>
                </a:solidFill>
                <a:ln>
                  <a:noFill/>
                </a:ln>
                <a:effectLst/>
              </p:spPr>
              <p:txBody>
                <a:bodyPr wrap="none" anchor="ctr"/>
                <a:lstStyle/>
                <a:p>
                  <a:endParaRPr lang="en-GB" sz="1400" dirty="0">
                    <a:solidFill>
                      <a:srgbClr val="595959"/>
                    </a:solidFill>
                    <a:latin typeface="+mj-lt"/>
                  </a:endParaRPr>
                </a:p>
              </p:txBody>
            </p:sp>
            <p:sp>
              <p:nvSpPr>
                <p:cNvPr id="38" name="Freeform 3">
                  <a:extLst>
                    <a:ext uri="{FF2B5EF4-FFF2-40B4-BE49-F238E27FC236}">
                      <a16:creationId xmlns:a16="http://schemas.microsoft.com/office/drawing/2014/main" id="{E2E228E6-B6F4-91FE-CFBB-735E2638374D}"/>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44F00"/>
                </a:solidFill>
                <a:ln>
                  <a:noFill/>
                </a:ln>
                <a:effectLst/>
              </p:spPr>
              <p:txBody>
                <a:bodyPr wrap="none" anchor="ctr"/>
                <a:lstStyle/>
                <a:p>
                  <a:endParaRPr lang="en-GB" sz="1400" dirty="0">
                    <a:solidFill>
                      <a:srgbClr val="595959"/>
                    </a:solidFill>
                    <a:latin typeface="+mj-lt"/>
                  </a:endParaRPr>
                </a:p>
              </p:txBody>
            </p:sp>
          </p:grpSp>
          <p:grpSp>
            <p:nvGrpSpPr>
              <p:cNvPr id="17" name="Group 4">
                <a:extLst>
                  <a:ext uri="{FF2B5EF4-FFF2-40B4-BE49-F238E27FC236}">
                    <a16:creationId xmlns:a16="http://schemas.microsoft.com/office/drawing/2014/main" id="{36F204DE-C484-9AA2-5B09-A2870E3837D9}"/>
                  </a:ext>
                </a:extLst>
              </p:cNvPr>
              <p:cNvGrpSpPr/>
              <p:nvPr/>
            </p:nvGrpSpPr>
            <p:grpSpPr>
              <a:xfrm>
                <a:off x="5328980" y="7745597"/>
                <a:ext cx="4377764" cy="3211487"/>
                <a:chOff x="9577832" y="4941160"/>
                <a:chExt cx="5221988" cy="3830802"/>
              </a:xfrm>
            </p:grpSpPr>
            <p:sp>
              <p:nvSpPr>
                <p:cNvPr id="33" name="Freeform 4">
                  <a:extLst>
                    <a:ext uri="{FF2B5EF4-FFF2-40B4-BE49-F238E27FC236}">
                      <a16:creationId xmlns:a16="http://schemas.microsoft.com/office/drawing/2014/main" id="{722A5040-0161-869E-D5D7-CB04F6D83078}"/>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rgbClr val="7F1C58"/>
                </a:solidFill>
                <a:ln>
                  <a:noFill/>
                </a:ln>
                <a:effectLst/>
              </p:spPr>
              <p:txBody>
                <a:bodyPr wrap="none" anchor="ctr"/>
                <a:lstStyle/>
                <a:p>
                  <a:endParaRPr lang="en-GB" sz="1400" dirty="0">
                    <a:solidFill>
                      <a:srgbClr val="595959"/>
                    </a:solidFill>
                    <a:latin typeface="+mj-lt"/>
                  </a:endParaRPr>
                </a:p>
              </p:txBody>
            </p:sp>
            <p:sp>
              <p:nvSpPr>
                <p:cNvPr id="34" name="Freeform 5">
                  <a:extLst>
                    <a:ext uri="{FF2B5EF4-FFF2-40B4-BE49-F238E27FC236}">
                      <a16:creationId xmlns:a16="http://schemas.microsoft.com/office/drawing/2014/main" id="{ACBEFBF7-6B9E-05D0-4A78-9F6C164A368D}"/>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rgbClr val="571D58"/>
                </a:solidFill>
                <a:ln>
                  <a:noFill/>
                </a:ln>
                <a:effectLst/>
              </p:spPr>
              <p:txBody>
                <a:bodyPr wrap="none" anchor="ctr"/>
                <a:lstStyle/>
                <a:p>
                  <a:endParaRPr lang="en-GB" sz="1400" dirty="0">
                    <a:solidFill>
                      <a:srgbClr val="595959"/>
                    </a:solidFill>
                    <a:latin typeface="+mj-lt"/>
                  </a:endParaRPr>
                </a:p>
              </p:txBody>
            </p:sp>
            <p:sp>
              <p:nvSpPr>
                <p:cNvPr id="35" name="Freeform 6">
                  <a:extLst>
                    <a:ext uri="{FF2B5EF4-FFF2-40B4-BE49-F238E27FC236}">
                      <a16:creationId xmlns:a16="http://schemas.microsoft.com/office/drawing/2014/main" id="{29889CA0-B02E-F38A-BBF0-1B7F6854E0F8}"/>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rgbClr val="571D58"/>
                </a:solidFill>
                <a:ln>
                  <a:noFill/>
                </a:ln>
                <a:effectLst/>
              </p:spPr>
              <p:txBody>
                <a:bodyPr wrap="none" anchor="ctr"/>
                <a:lstStyle/>
                <a:p>
                  <a:endParaRPr lang="en-GB" sz="1400" dirty="0">
                    <a:solidFill>
                      <a:srgbClr val="595959"/>
                    </a:solidFill>
                    <a:latin typeface="+mj-lt"/>
                  </a:endParaRPr>
                </a:p>
              </p:txBody>
            </p:sp>
          </p:grpSp>
          <p:grpSp>
            <p:nvGrpSpPr>
              <p:cNvPr id="18" name="Group 16">
                <a:extLst>
                  <a:ext uri="{FF2B5EF4-FFF2-40B4-BE49-F238E27FC236}">
                    <a16:creationId xmlns:a16="http://schemas.microsoft.com/office/drawing/2014/main" id="{48254E74-CAD6-1757-F193-4858FA979629}"/>
                  </a:ext>
                </a:extLst>
              </p:cNvPr>
              <p:cNvGrpSpPr/>
              <p:nvPr/>
            </p:nvGrpSpPr>
            <p:grpSpPr>
              <a:xfrm>
                <a:off x="9701914" y="3754179"/>
                <a:ext cx="4377764" cy="3211487"/>
                <a:chOff x="12193146" y="2562030"/>
                <a:chExt cx="5221988" cy="3830802"/>
              </a:xfrm>
            </p:grpSpPr>
            <p:sp>
              <p:nvSpPr>
                <p:cNvPr id="29" name="Freeform 1">
                  <a:extLst>
                    <a:ext uri="{FF2B5EF4-FFF2-40B4-BE49-F238E27FC236}">
                      <a16:creationId xmlns:a16="http://schemas.microsoft.com/office/drawing/2014/main" id="{A8CEE1E0-3625-21F8-D1BA-B7F0B5DAFC91}"/>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B41F7A"/>
                </a:solidFill>
                <a:ln>
                  <a:noFill/>
                </a:ln>
                <a:effectLst/>
              </p:spPr>
              <p:txBody>
                <a:bodyPr wrap="none" anchor="ctr"/>
                <a:lstStyle/>
                <a:p>
                  <a:endParaRPr lang="en-GB" sz="1400" dirty="0">
                    <a:solidFill>
                      <a:srgbClr val="595959"/>
                    </a:solidFill>
                    <a:latin typeface="+mj-lt"/>
                  </a:endParaRPr>
                </a:p>
              </p:txBody>
            </p:sp>
            <p:sp>
              <p:nvSpPr>
                <p:cNvPr id="31" name="Freeform 2">
                  <a:extLst>
                    <a:ext uri="{FF2B5EF4-FFF2-40B4-BE49-F238E27FC236}">
                      <a16:creationId xmlns:a16="http://schemas.microsoft.com/office/drawing/2014/main" id="{0B272C14-DEB0-74AC-4870-304AADF59AFA}"/>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7F1C58"/>
                </a:solidFill>
                <a:ln>
                  <a:noFill/>
                </a:ln>
                <a:effectLst/>
              </p:spPr>
              <p:txBody>
                <a:bodyPr wrap="none" anchor="ctr"/>
                <a:lstStyle/>
                <a:p>
                  <a:endParaRPr lang="en-GB" sz="1400" dirty="0">
                    <a:solidFill>
                      <a:srgbClr val="595959"/>
                    </a:solidFill>
                    <a:latin typeface="+mj-lt"/>
                  </a:endParaRPr>
                </a:p>
              </p:txBody>
            </p:sp>
            <p:sp>
              <p:nvSpPr>
                <p:cNvPr id="32" name="Freeform 3">
                  <a:extLst>
                    <a:ext uri="{FF2B5EF4-FFF2-40B4-BE49-F238E27FC236}">
                      <a16:creationId xmlns:a16="http://schemas.microsoft.com/office/drawing/2014/main" id="{F406C8BE-12EC-0E55-EBB8-7BB2C80B1F42}"/>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7F1C58"/>
                </a:solidFill>
                <a:ln>
                  <a:noFill/>
                </a:ln>
                <a:effectLst/>
              </p:spPr>
              <p:txBody>
                <a:bodyPr wrap="none" anchor="ctr"/>
                <a:lstStyle/>
                <a:p>
                  <a:endParaRPr lang="en-GB" sz="1400" dirty="0">
                    <a:solidFill>
                      <a:srgbClr val="595959"/>
                    </a:solidFill>
                    <a:latin typeface="+mj-lt"/>
                  </a:endParaRPr>
                </a:p>
              </p:txBody>
            </p:sp>
          </p:grpSp>
          <p:grpSp>
            <p:nvGrpSpPr>
              <p:cNvPr id="19" name="Group 20">
                <a:extLst>
                  <a:ext uri="{FF2B5EF4-FFF2-40B4-BE49-F238E27FC236}">
                    <a16:creationId xmlns:a16="http://schemas.microsoft.com/office/drawing/2014/main" id="{B562B114-251C-2BBE-4F01-B33D5AA51C88}"/>
                  </a:ext>
                </a:extLst>
              </p:cNvPr>
              <p:cNvGrpSpPr/>
              <p:nvPr/>
            </p:nvGrpSpPr>
            <p:grpSpPr>
              <a:xfrm>
                <a:off x="11894418" y="1762088"/>
                <a:ext cx="4377764" cy="3211487"/>
                <a:chOff x="12193146" y="2562030"/>
                <a:chExt cx="5221988" cy="3830802"/>
              </a:xfrm>
            </p:grpSpPr>
            <p:sp>
              <p:nvSpPr>
                <p:cNvPr id="20" name="Freeform 1">
                  <a:extLst>
                    <a:ext uri="{FF2B5EF4-FFF2-40B4-BE49-F238E27FC236}">
                      <a16:creationId xmlns:a16="http://schemas.microsoft.com/office/drawing/2014/main" id="{849B289F-3061-093A-CD11-60B65404D71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rgbClr val="EDA13E"/>
                </a:solidFill>
                <a:ln>
                  <a:noFill/>
                </a:ln>
                <a:effectLst/>
              </p:spPr>
              <p:txBody>
                <a:bodyPr wrap="none" anchor="ctr"/>
                <a:lstStyle/>
                <a:p>
                  <a:endParaRPr lang="en-GB" sz="1400" dirty="0">
                    <a:solidFill>
                      <a:srgbClr val="595959"/>
                    </a:solidFill>
                    <a:latin typeface="+mj-lt"/>
                  </a:endParaRPr>
                </a:p>
              </p:txBody>
            </p:sp>
            <p:sp>
              <p:nvSpPr>
                <p:cNvPr id="21" name="Freeform 2">
                  <a:extLst>
                    <a:ext uri="{FF2B5EF4-FFF2-40B4-BE49-F238E27FC236}">
                      <a16:creationId xmlns:a16="http://schemas.microsoft.com/office/drawing/2014/main" id="{BC9EBD4E-54EA-D6D3-EF84-EFE64ACAE446}"/>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rgbClr val="CD6634"/>
                </a:solidFill>
                <a:ln>
                  <a:noFill/>
                </a:ln>
                <a:effectLst/>
              </p:spPr>
              <p:txBody>
                <a:bodyPr wrap="none" anchor="ctr"/>
                <a:lstStyle/>
                <a:p>
                  <a:endParaRPr lang="en-GB" sz="1400" dirty="0">
                    <a:solidFill>
                      <a:srgbClr val="595959"/>
                    </a:solidFill>
                    <a:latin typeface="+mj-lt"/>
                  </a:endParaRPr>
                </a:p>
              </p:txBody>
            </p:sp>
            <p:sp>
              <p:nvSpPr>
                <p:cNvPr id="22" name="Freeform 3">
                  <a:extLst>
                    <a:ext uri="{FF2B5EF4-FFF2-40B4-BE49-F238E27FC236}">
                      <a16:creationId xmlns:a16="http://schemas.microsoft.com/office/drawing/2014/main" id="{EBF5C3C8-DB02-AFB6-10FA-008DF3B732E7}"/>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rgbClr val="CD6634"/>
                </a:solidFill>
                <a:ln>
                  <a:noFill/>
                </a:ln>
                <a:effectLst/>
              </p:spPr>
              <p:txBody>
                <a:bodyPr wrap="none" anchor="ctr"/>
                <a:lstStyle/>
                <a:p>
                  <a:endParaRPr lang="en-GB" sz="1400" dirty="0">
                    <a:solidFill>
                      <a:srgbClr val="595959"/>
                    </a:solidFill>
                    <a:latin typeface="+mj-lt"/>
                  </a:endParaRPr>
                </a:p>
              </p:txBody>
            </p:sp>
          </p:grpSp>
        </p:grpSp>
        <p:sp>
          <p:nvSpPr>
            <p:cNvPr id="53" name="Text Placeholder 17">
              <a:extLst>
                <a:ext uri="{FF2B5EF4-FFF2-40B4-BE49-F238E27FC236}">
                  <a16:creationId xmlns:a16="http://schemas.microsoft.com/office/drawing/2014/main" id="{B18FF71F-37DA-97F2-92BE-D0BB0AEEB907}"/>
                </a:ext>
              </a:extLst>
            </p:cNvPr>
            <p:cNvSpPr txBox="1">
              <a:spLocks/>
            </p:cNvSpPr>
            <p:nvPr/>
          </p:nvSpPr>
          <p:spPr>
            <a:xfrm>
              <a:off x="6363982" y="347356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1</a:t>
              </a:r>
              <a:endParaRPr lang="en-US" sz="4000" b="0" dirty="0">
                <a:solidFill>
                  <a:schemeClr val="bg1"/>
                </a:solidFill>
              </a:endParaRPr>
            </a:p>
          </p:txBody>
        </p:sp>
        <p:sp>
          <p:nvSpPr>
            <p:cNvPr id="54" name="Text Placeholder 17">
              <a:extLst>
                <a:ext uri="{FF2B5EF4-FFF2-40B4-BE49-F238E27FC236}">
                  <a16:creationId xmlns:a16="http://schemas.microsoft.com/office/drawing/2014/main" id="{561EF138-1B7E-1262-21A4-29ABD359325A}"/>
                </a:ext>
              </a:extLst>
            </p:cNvPr>
            <p:cNvSpPr txBox="1">
              <a:spLocks/>
            </p:cNvSpPr>
            <p:nvPr/>
          </p:nvSpPr>
          <p:spPr>
            <a:xfrm>
              <a:off x="5594444" y="413716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2</a:t>
              </a:r>
              <a:endParaRPr lang="en-US" sz="4000" b="0" dirty="0">
                <a:solidFill>
                  <a:schemeClr val="bg1"/>
                </a:solidFill>
              </a:endParaRPr>
            </a:p>
          </p:txBody>
        </p:sp>
        <p:sp>
          <p:nvSpPr>
            <p:cNvPr id="55" name="Text Placeholder 17">
              <a:extLst>
                <a:ext uri="{FF2B5EF4-FFF2-40B4-BE49-F238E27FC236}">
                  <a16:creationId xmlns:a16="http://schemas.microsoft.com/office/drawing/2014/main" id="{002C0FE1-FEA0-1199-4B6C-4A64BB40AF48}"/>
                </a:ext>
              </a:extLst>
            </p:cNvPr>
            <p:cNvSpPr txBox="1">
              <a:spLocks/>
            </p:cNvSpPr>
            <p:nvPr/>
          </p:nvSpPr>
          <p:spPr>
            <a:xfrm>
              <a:off x="4882199" y="4856343"/>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3</a:t>
              </a:r>
              <a:endParaRPr lang="en-US" sz="4000" b="0" dirty="0">
                <a:solidFill>
                  <a:schemeClr val="bg1"/>
                </a:solidFill>
              </a:endParaRPr>
            </a:p>
          </p:txBody>
        </p:sp>
        <p:sp>
          <p:nvSpPr>
            <p:cNvPr id="58" name="Text Placeholder 17">
              <a:extLst>
                <a:ext uri="{FF2B5EF4-FFF2-40B4-BE49-F238E27FC236}">
                  <a16:creationId xmlns:a16="http://schemas.microsoft.com/office/drawing/2014/main" id="{E414736B-0C73-197E-0DCF-EFA27C855D22}"/>
                </a:ext>
              </a:extLst>
            </p:cNvPr>
            <p:cNvSpPr txBox="1">
              <a:spLocks/>
            </p:cNvSpPr>
            <p:nvPr/>
          </p:nvSpPr>
          <p:spPr>
            <a:xfrm>
              <a:off x="4112661" y="5519942"/>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4000" b="0" dirty="0">
                  <a:solidFill>
                    <a:schemeClr val="bg1"/>
                  </a:solidFill>
                </a:rPr>
                <a:t>04</a:t>
              </a:r>
              <a:endParaRPr lang="en-US" sz="4000" b="0" dirty="0">
                <a:solidFill>
                  <a:schemeClr val="bg1"/>
                </a:solidFill>
              </a:endParaRPr>
            </a:p>
          </p:txBody>
        </p:sp>
      </p:grpSp>
      <p:sp>
        <p:nvSpPr>
          <p:cNvPr id="60" name="TextBox 32">
            <a:extLst>
              <a:ext uri="{FF2B5EF4-FFF2-40B4-BE49-F238E27FC236}">
                <a16:creationId xmlns:a16="http://schemas.microsoft.com/office/drawing/2014/main" id="{54C71831-770F-C496-4EDA-152B1CD0F1ED}"/>
              </a:ext>
            </a:extLst>
          </p:cNvPr>
          <p:cNvSpPr txBox="1"/>
          <p:nvPr/>
        </p:nvSpPr>
        <p:spPr>
          <a:xfrm>
            <a:off x="7902662" y="3285990"/>
            <a:ext cx="3686622" cy="3392082"/>
          </a:xfrm>
          <a:prstGeom prst="rect">
            <a:avLst/>
          </a:prstGeom>
          <a:noFill/>
        </p:spPr>
        <p:txBody>
          <a:bodyPr wrap="square" rtlCol="0" anchor="t" anchorCtr="0">
            <a:spAutoFit/>
          </a:bodyPr>
          <a:lstStyle/>
          <a:p>
            <a:pPr marL="407988" indent="-407988">
              <a:lnSpc>
                <a:spcPts val="2240"/>
              </a:lnSpc>
            </a:pPr>
            <a:r>
              <a:rPr lang="en-GB" sz="2000" b="1" dirty="0">
                <a:solidFill>
                  <a:srgbClr val="F16924"/>
                </a:solidFill>
                <a:ea typeface="League Spartan" charset="0"/>
                <a:cs typeface="Poppins" pitchFamily="2" charset="77"/>
              </a:rPr>
              <a:t>03 Γίνε ηγέτης</a:t>
            </a:r>
          </a:p>
          <a:p>
            <a:pPr marL="407988" indent="-407988">
              <a:lnSpc>
                <a:spcPts val="2140"/>
              </a:lnSpc>
            </a:pPr>
            <a:r>
              <a:rPr lang="en-GB" dirty="0">
                <a:solidFill>
                  <a:srgbClr val="595959"/>
                </a:solidFill>
                <a:ea typeface="Lato Light" panose="020F0502020204030203" pitchFamily="34" charset="0"/>
                <a:cs typeface="Mukta ExtraLight" panose="020B0000000000000000" pitchFamily="34" charset="77"/>
              </a:rPr>
              <a:t>	Παρέχετε ορατή συμμετοχή του Διευθύνοντος Συμβούλου και της ανώτερης ηγεσίας - αναλάβετε εσείς το πρόβλημα</a:t>
            </a:r>
          </a:p>
          <a:p>
            <a:pPr marL="407988" indent="-407988">
              <a:lnSpc>
                <a:spcPts val="2240"/>
              </a:lnSpc>
            </a:pPr>
            <a:endParaRPr lang="en-GB" sz="2000"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r>
              <a:rPr lang="en-GB" sz="2000" b="1" dirty="0">
                <a:solidFill>
                  <a:srgbClr val="7F1C58"/>
                </a:solidFill>
                <a:ea typeface="League Spartan" charset="0"/>
                <a:cs typeface="Poppins" pitchFamily="2" charset="77"/>
              </a:rPr>
              <a:t>04 Κάντε ό,τι είναι απαραίτητο όταν είναι απαραίτητο</a:t>
            </a:r>
          </a:p>
          <a:p>
            <a:pPr marL="407988" indent="-407988">
              <a:lnSpc>
                <a:spcPts val="2140"/>
              </a:lnSpc>
            </a:pPr>
            <a:r>
              <a:rPr lang="en-GB" dirty="0">
                <a:solidFill>
                  <a:srgbClr val="595959"/>
                </a:solidFill>
                <a:ea typeface="Lato Light" panose="020F0502020204030203" pitchFamily="34" charset="0"/>
                <a:cs typeface="Mukta ExtraLight" panose="020B0000000000000000" pitchFamily="34" charset="77"/>
              </a:rPr>
              <a:t>	Πετάξτε το ημερολόγιό σας - εμπλέξτε όλα τα ενδιαφερόμενα μέρη όλο το εικοσιτετράωρο</a:t>
            </a:r>
            <a:endParaRPr lang="en-GB" sz="2000" dirty="0">
              <a:solidFill>
                <a:srgbClr val="595959"/>
              </a:solidFill>
              <a:ea typeface="Lato Light" panose="020F0502020204030203" pitchFamily="34" charset="0"/>
              <a:cs typeface="Mukta ExtraLight" panose="020B0000000000000000" pitchFamily="34" charset="77"/>
            </a:endParaRPr>
          </a:p>
          <a:p>
            <a:pPr marL="407988" indent="-407988">
              <a:lnSpc>
                <a:spcPts val="2240"/>
              </a:lnSpc>
            </a:pPr>
            <a:endParaRPr lang="en-GB" sz="2200" b="1" dirty="0">
              <a:solidFill>
                <a:srgbClr val="EDA13E"/>
              </a:solidFill>
              <a:ea typeface="League Spartan" charset="0"/>
              <a:cs typeface="Poppins" pitchFamily="2" charset="77"/>
            </a:endParaRPr>
          </a:p>
        </p:txBody>
      </p:sp>
    </p:spTree>
    <p:extLst>
      <p:ext uri="{BB962C8B-B14F-4D97-AF65-F5344CB8AC3E}">
        <p14:creationId xmlns:p14="http://schemas.microsoft.com/office/powerpoint/2010/main" val="35432472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DBDE40-F0F2-BCA1-1837-07DA205E6A6D}"/>
              </a:ext>
            </a:extLst>
          </p:cNvPr>
          <p:cNvSpPr/>
          <p:nvPr/>
        </p:nvSpPr>
        <p:spPr>
          <a:xfrm>
            <a:off x="103240" y="2495724"/>
            <a:ext cx="6725264" cy="1235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Placeholder 7">
            <a:extLst>
              <a:ext uri="{FF2B5EF4-FFF2-40B4-BE49-F238E27FC236}">
                <a16:creationId xmlns:a16="http://schemas.microsoft.com/office/drawing/2014/main" id="{495BACFE-4094-EB09-296D-E4845337BA5A}"/>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13390" r="13390"/>
          <a:stretch>
            <a:fillRect/>
          </a:stretch>
        </p:blipFill>
        <p:spPr/>
      </p:pic>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5002409"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t>Mindsight &amp; Συναισθηματική Νοημοσύνη στην Ηγεσία</a:t>
            </a:r>
          </a:p>
        </p:txBody>
      </p:sp>
      <p:sp>
        <p:nvSpPr>
          <p:cNvPr id="12" name="Rechteck 27">
            <a:extLst>
              <a:ext uri="{FF2B5EF4-FFF2-40B4-BE49-F238E27FC236}">
                <a16:creationId xmlns:a16="http://schemas.microsoft.com/office/drawing/2014/main" id="{7054D4B0-F180-A446-A761-08781C2AC881}"/>
              </a:ext>
            </a:extLst>
          </p:cNvPr>
          <p:cNvSpPr/>
          <p:nvPr/>
        </p:nvSpPr>
        <p:spPr>
          <a:xfrm>
            <a:off x="468998" y="5918697"/>
            <a:ext cx="11723002" cy="753522"/>
          </a:xfrm>
          <a:prstGeom prst="rect">
            <a:avLst/>
          </a:prstGeom>
        </p:spPr>
        <p:txBody>
          <a:bodyPr vert="horz" wrap="square" lIns="81580" tIns="40790" rIns="81580" bIns="40790" rtlCol="0">
            <a:spAutoFit/>
          </a:bodyPr>
          <a:lstStyle/>
          <a:p>
            <a:pPr defTabSz="1087636">
              <a:lnSpc>
                <a:spcPts val="1500"/>
              </a:lnSpc>
              <a:spcBef>
                <a:spcPct val="20000"/>
              </a:spcBef>
            </a:pPr>
            <a:r>
              <a:rPr lang="en-GB" sz="2200" dirty="0">
                <a:solidFill>
                  <a:srgbClr val="595959"/>
                </a:solidFill>
              </a:rPr>
              <a:t>Πηγή: Goleman| YouTube: </a:t>
            </a:r>
            <a:r>
              <a:rPr lang="en-GB" sz="2200" dirty="0">
                <a:solidFill>
                  <a:srgbClr val="595959"/>
                </a:solidFill>
                <a:hlinkClick r:id="rId3">
                  <a:extLst>
                    <a:ext uri="{A12FA001-AC4F-418D-AE19-62706E023703}">
                      <ahyp:hlinkClr xmlns:ahyp="http://schemas.microsoft.com/office/drawing/2018/hyperlinkcolor" val="tx"/>
                    </a:ext>
                  </a:extLst>
                </a:hlinkClick>
              </a:rPr>
              <a:t>https://www.youtube.com/watch?v=heRCxqQmrGQ</a:t>
            </a:r>
            <a:endParaRPr lang="en-GB" sz="2200" dirty="0">
              <a:solidFill>
                <a:srgbClr val="595959"/>
              </a:solidFill>
            </a:endParaRPr>
          </a:p>
          <a:p>
            <a:pPr defTabSz="1087636">
              <a:lnSpc>
                <a:spcPts val="1500"/>
              </a:lnSpc>
              <a:spcBef>
                <a:spcPct val="20000"/>
              </a:spcBef>
            </a:pPr>
            <a:r>
              <a:rPr lang="en-GB" sz="2200" dirty="0">
                <a:solidFill>
                  <a:srgbClr val="595959"/>
                </a:solidFill>
              </a:rPr>
              <a:t> </a:t>
            </a:r>
            <a:br>
              <a:rPr lang="en-GB" sz="2200" dirty="0">
                <a:solidFill>
                  <a:srgbClr val="595959"/>
                </a:solidFill>
              </a:rPr>
            </a:br>
            <a:endParaRPr lang="en-GB" sz="2200" dirty="0">
              <a:solidFill>
                <a:srgbClr val="595959"/>
              </a:solidFill>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504231" y="2291173"/>
            <a:ext cx="5359074" cy="3877985"/>
          </a:xfrm>
          <a:prstGeom prst="rect">
            <a:avLst/>
          </a:prstGeom>
          <a:noFill/>
        </p:spPr>
        <p:txBody>
          <a:bodyPr wrap="square" rtlCol="0">
            <a:spAutoFit/>
          </a:bodyPr>
          <a:lstStyle/>
          <a:p>
            <a:pPr algn="l"/>
            <a:r>
              <a:rPr lang="en-GB" sz="2200" b="0" i="0" dirty="0">
                <a:solidFill>
                  <a:schemeClr val="bg1"/>
                </a:solidFill>
                <a:effectLst/>
                <a:highlight>
                  <a:srgbClr val="F16924"/>
                </a:highlight>
              </a:rPr>
              <a:t> ΔΕΙΤΕ</a:t>
            </a:r>
            <a:r>
              <a:rPr lang="en-GB" sz="2200" b="0" i="0" dirty="0">
                <a:solidFill>
                  <a:srgbClr val="F16924"/>
                </a:solidFill>
                <a:effectLst/>
                <a:highlight>
                  <a:srgbClr val="F16924"/>
                </a:highlight>
              </a:rPr>
              <a:t>. </a:t>
            </a:r>
          </a:p>
          <a:p>
            <a:pPr algn="l"/>
            <a:endParaRPr lang="en-GB" sz="2200" b="0" i="0" dirty="0">
              <a:solidFill>
                <a:schemeClr val="bg1"/>
              </a:solidFill>
              <a:effectLst/>
              <a:highlight>
                <a:srgbClr val="E53292"/>
              </a:highlight>
            </a:endParaRPr>
          </a:p>
          <a:p>
            <a:r>
              <a:rPr lang="en-GB" sz="2000" b="1" dirty="0" err="1">
                <a:solidFill>
                  <a:srgbClr val="595959"/>
                </a:solidFill>
              </a:rPr>
              <a:t>Ο Dr. </a:t>
            </a:r>
            <a:r>
              <a:rPr lang="en-GB" sz="2000" b="1" dirty="0">
                <a:solidFill>
                  <a:srgbClr val="595959"/>
                </a:solidFill>
              </a:rPr>
              <a:t>Daniel </a:t>
            </a:r>
            <a:r>
              <a:rPr lang="en-GB" sz="2000" dirty="0">
                <a:solidFill>
                  <a:srgbClr val="595959"/>
                </a:solidFill>
              </a:rPr>
              <a:t>Goleman μοιράζεται τη συναρπαστική επιστημονική βάση για την ανάπτυξη της ηγεσίας στη σειρά βίντεο Brainpower. Σε αυτό το απόσπασμα, ο </a:t>
            </a:r>
            <a:r>
              <a:rPr lang="en-GB" sz="2000" dirty="0" err="1">
                <a:solidFill>
                  <a:srgbClr val="595959"/>
                </a:solidFill>
              </a:rPr>
              <a:t>Dr. </a:t>
            </a:r>
            <a:r>
              <a:rPr lang="en-GB" sz="2000" dirty="0">
                <a:solidFill>
                  <a:srgbClr val="595959"/>
                </a:solidFill>
              </a:rPr>
              <a:t>Goleman υπογραμμίζει τους τρόπους με τους οποίους οι αποτελεσματικοί ηγέτες χρησιμοποιούν τη συστημική σκέψη στην επιχειρηματική στρατηγική, τις τακτικές παρακίνησης και το οργανωτικό όραμα.</a:t>
            </a:r>
          </a:p>
          <a:p>
            <a:endParaRPr lang="en-GB" sz="2200" b="1" dirty="0">
              <a:solidFill>
                <a:srgbClr val="595959"/>
              </a:solidFill>
            </a:endParaRPr>
          </a:p>
        </p:txBody>
      </p:sp>
      <p:sp>
        <p:nvSpPr>
          <p:cNvPr id="14" name="Oval 13">
            <a:extLst>
              <a:ext uri="{FF2B5EF4-FFF2-40B4-BE49-F238E27FC236}">
                <a16:creationId xmlns:a16="http://schemas.microsoft.com/office/drawing/2014/main" id="{22647D80-595B-BF51-CF15-31CAD1C39DC6}"/>
              </a:ext>
            </a:extLst>
          </p:cNvPr>
          <p:cNvSpPr/>
          <p:nvPr/>
        </p:nvSpPr>
        <p:spPr>
          <a:xfrm rot="21231927">
            <a:off x="5214003" y="2395937"/>
            <a:ext cx="3051013"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b="1" dirty="0">
                <a:solidFill>
                  <a:schemeClr val="bg1"/>
                </a:solidFill>
              </a:rPr>
              <a:t>ΚΑΝΤΕ </a:t>
            </a:r>
            <a:r>
              <a:rPr lang="en-US" b="1" dirty="0">
                <a:solidFill>
                  <a:schemeClr val="bg1"/>
                </a:solidFill>
              </a:rPr>
              <a:t>ΚΛΙΚ ΓΙΑ ΝΑ </a:t>
            </a:r>
            <a:r>
              <a:rPr lang="en-US" b="1" dirty="0">
                <a:solidFill>
                  <a:schemeClr val="bg1"/>
                </a:solidFill>
                <a:hlinkClick r:id="rId3">
                  <a:extLst>
                    <a:ext uri="{A12FA001-AC4F-418D-AE19-62706E023703}">
                      <ahyp:hlinkClr xmlns:ahyp="http://schemas.microsoft.com/office/drawing/2018/hyperlinkcolor" val="tx"/>
                    </a:ext>
                  </a:extLst>
                </a:hlinkClick>
              </a:rPr>
              <a:t>ΠΑΡΑΚΟΛΟΥΘΉΣΕΤΕ</a:t>
            </a:r>
            <a:endParaRPr lang="en-US" b="1" dirty="0">
              <a:solidFill>
                <a:schemeClr val="bg1"/>
              </a:solidFill>
            </a:endParaRPr>
          </a:p>
        </p:txBody>
      </p:sp>
      <p:sp>
        <p:nvSpPr>
          <p:cNvPr id="17" name="Rectangle 16">
            <a:extLst>
              <a:ext uri="{FF2B5EF4-FFF2-40B4-BE49-F238E27FC236}">
                <a16:creationId xmlns:a16="http://schemas.microsoft.com/office/drawing/2014/main" id="{63FAF0F0-94FA-7682-892A-7A8BF465F65D}"/>
              </a:ext>
            </a:extLst>
          </p:cNvPr>
          <p:cNvSpPr/>
          <p:nvPr/>
        </p:nvSpPr>
        <p:spPr>
          <a:xfrm>
            <a:off x="734714" y="182910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905798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6035109" y="44827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6138971" y="65617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1</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7120589" y="642708"/>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έχετε απόδοση, με συνέπεια</a:t>
            </a:r>
          </a:p>
        </p:txBody>
      </p:sp>
      <p:sp>
        <p:nvSpPr>
          <p:cNvPr id="33" name="Pentagon 32">
            <a:extLst>
              <a:ext uri="{FF2B5EF4-FFF2-40B4-BE49-F238E27FC236}">
                <a16:creationId xmlns:a16="http://schemas.microsoft.com/office/drawing/2014/main" id="{C341E196-C78F-4483-80F7-EEE64418048F}"/>
              </a:ext>
            </a:extLst>
          </p:cNvPr>
          <p:cNvSpPr/>
          <p:nvPr/>
        </p:nvSpPr>
        <p:spPr>
          <a:xfrm>
            <a:off x="6033042" y="111939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6138971" y="130901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2</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7120589" y="1299971"/>
            <a:ext cx="4592074"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Να επιδεικνύετε πάντα θετική στάση</a:t>
            </a:r>
          </a:p>
        </p:txBody>
      </p:sp>
      <p:sp>
        <p:nvSpPr>
          <p:cNvPr id="36" name="Pentagon 35">
            <a:extLst>
              <a:ext uri="{FF2B5EF4-FFF2-40B4-BE49-F238E27FC236}">
                <a16:creationId xmlns:a16="http://schemas.microsoft.com/office/drawing/2014/main" id="{A2F28C16-1CBC-DBE5-8011-858E0DA46ACE}"/>
              </a:ext>
            </a:extLst>
          </p:cNvPr>
          <p:cNvSpPr/>
          <p:nvPr/>
        </p:nvSpPr>
        <p:spPr>
          <a:xfrm>
            <a:off x="6033042" y="178646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6138972" y="198471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3</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7120589" y="195414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Να είστε ομαδικός παίκτης και "οπαδός".</a:t>
            </a:r>
          </a:p>
        </p:txBody>
      </p:sp>
      <p:sp>
        <p:nvSpPr>
          <p:cNvPr id="39" name="Pentagon 38">
            <a:extLst>
              <a:ext uri="{FF2B5EF4-FFF2-40B4-BE49-F238E27FC236}">
                <a16:creationId xmlns:a16="http://schemas.microsoft.com/office/drawing/2014/main" id="{F8DCEED6-531C-BF6C-3A63-E751C0662C26}"/>
              </a:ext>
            </a:extLst>
          </p:cNvPr>
          <p:cNvSpPr/>
          <p:nvPr/>
        </p:nvSpPr>
        <p:spPr>
          <a:xfrm>
            <a:off x="6033042" y="244283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6138971" y="264751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4</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7120589" y="262162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Εθελοντισμός για την καθοδήγηση έργων και τη συμμετοχή σε πρωτοβουλίες</a:t>
            </a:r>
          </a:p>
        </p:txBody>
      </p:sp>
      <p:sp>
        <p:nvSpPr>
          <p:cNvPr id="42" name="Pentagon 41">
            <a:extLst>
              <a:ext uri="{FF2B5EF4-FFF2-40B4-BE49-F238E27FC236}">
                <a16:creationId xmlns:a16="http://schemas.microsoft.com/office/drawing/2014/main" id="{5EE6CBC6-4376-A60C-1006-EB68A79A6BEA}"/>
              </a:ext>
            </a:extLst>
          </p:cNvPr>
          <p:cNvSpPr/>
          <p:nvPr/>
        </p:nvSpPr>
        <p:spPr>
          <a:xfrm>
            <a:off x="6033042" y="3106431"/>
            <a:ext cx="5855111" cy="576000"/>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6138971" y="3295777"/>
            <a:ext cx="974185"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5</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7194329" y="3299473"/>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Γίνετε ένας ολοκληρωμένος γενικός επιστήμονας</a:t>
            </a:r>
          </a:p>
        </p:txBody>
      </p:sp>
      <p:sp>
        <p:nvSpPr>
          <p:cNvPr id="45" name="Rectangle 44">
            <a:extLst>
              <a:ext uri="{FF2B5EF4-FFF2-40B4-BE49-F238E27FC236}">
                <a16:creationId xmlns:a16="http://schemas.microsoft.com/office/drawing/2014/main" id="{73351E67-4939-BB5C-1C2E-022031ACA560}"/>
              </a:ext>
            </a:extLst>
          </p:cNvPr>
          <p:cNvSpPr/>
          <p:nvPr/>
        </p:nvSpPr>
        <p:spPr>
          <a:xfrm>
            <a:off x="-16721" y="0"/>
            <a:ext cx="119760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97680" y="1692387"/>
            <a:ext cx="5123246" cy="57220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spcBef>
                <a:spcPts val="0"/>
              </a:spcBef>
            </a:pPr>
            <a:r>
              <a:rPr lang="en-GB" sz="1600" dirty="0"/>
              <a:t>Οι κρίσεις μπορούν να δοκιμάσουν την ηγετική ικανότητα, τη λήψη αποφάσεων και τις ικανότητες στρατηγικής σκέψης.  Κατά τη διάρκεια μιας κρίσης, τα ενδιαφερόμενα μέρη θα πρέπει να εμπλέκονται και οι αλληλεπιδράσεις μαζί τους (και ενδεχομένως με τα μέσα ενημέρωσης) για να εκφράσετε την κατάσταση και να μοιραστείτε το σχέδιο προβλεπόμενων ενεργειών σας είναι στρατηγικές. Οι ηγέτες μπορούν να χρησιμοποιήσουν τις κρίσεις ως ευκαιρία για να οικοδομήσουν ισχυρότερες συνεργασίες και να ζητήσουν βοήθεια, αν χρειαστεί. Η ομάδα σας περιμένει από εσάς να παρέχετε ισχυρή υποστήριξη και καθοδήγηση και η εμπιστοσύνη σας στη διαδικασία αποτελεί ένδειξη συνέχειας για την ομάδα σας και απαιτούνται πραγματικές ηγετικές ικανότητες. Ακολουθούν συμβουλές για τους ηγέτες σχετικά με τη διαχείριση κρίσεων:</a:t>
            </a:r>
          </a:p>
          <a:p>
            <a:pPr marL="0" indent="0">
              <a:lnSpc>
                <a:spcPts val="2280"/>
              </a:lnSpc>
              <a:spcBef>
                <a:spcPts val="0"/>
              </a:spcBef>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497681" y="380073"/>
            <a:ext cx="526869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Επίδειξη ηγεσίας</a:t>
            </a:r>
          </a:p>
        </p:txBody>
      </p:sp>
      <p:sp>
        <p:nvSpPr>
          <p:cNvPr id="52" name="Rectangle 51">
            <a:extLst>
              <a:ext uri="{FF2B5EF4-FFF2-40B4-BE49-F238E27FC236}">
                <a16:creationId xmlns:a16="http://schemas.microsoft.com/office/drawing/2014/main" id="{50A70684-FCBB-8592-BFD2-474A09103682}"/>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2" name="Pentagon 11">
            <a:extLst>
              <a:ext uri="{FF2B5EF4-FFF2-40B4-BE49-F238E27FC236}">
                <a16:creationId xmlns:a16="http://schemas.microsoft.com/office/drawing/2014/main" id="{3D928F30-815E-5A49-964A-CA1623656303}"/>
              </a:ext>
            </a:extLst>
          </p:cNvPr>
          <p:cNvSpPr/>
          <p:nvPr/>
        </p:nvSpPr>
        <p:spPr>
          <a:xfrm>
            <a:off x="6024327" y="3753683"/>
            <a:ext cx="5863554" cy="576000"/>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7">
            <a:extLst>
              <a:ext uri="{FF2B5EF4-FFF2-40B4-BE49-F238E27FC236}">
                <a16:creationId xmlns:a16="http://schemas.microsoft.com/office/drawing/2014/main" id="{E37042DE-3CB2-AFFE-DD75-93DA2310EB85}"/>
              </a:ext>
            </a:extLst>
          </p:cNvPr>
          <p:cNvSpPr txBox="1"/>
          <p:nvPr/>
        </p:nvSpPr>
        <p:spPr>
          <a:xfrm>
            <a:off x="6128189" y="3961585"/>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6</a:t>
            </a:r>
          </a:p>
        </p:txBody>
      </p:sp>
      <p:sp>
        <p:nvSpPr>
          <p:cNvPr id="15" name="Subtitle 2">
            <a:extLst>
              <a:ext uri="{FF2B5EF4-FFF2-40B4-BE49-F238E27FC236}">
                <a16:creationId xmlns:a16="http://schemas.microsoft.com/office/drawing/2014/main" id="{0DB3C8FA-607A-4391-E622-50981955B5FB}"/>
              </a:ext>
            </a:extLst>
          </p:cNvPr>
          <p:cNvSpPr txBox="1">
            <a:spLocks/>
          </p:cNvSpPr>
          <p:nvPr/>
        </p:nvSpPr>
        <p:spPr>
          <a:xfrm>
            <a:off x="7120589" y="3815386"/>
            <a:ext cx="3602440"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Αποδεχτείτε τις αποτυχίες/τα λάθη σας... και μάθετε από αυτά</a:t>
            </a:r>
          </a:p>
        </p:txBody>
      </p:sp>
      <p:sp>
        <p:nvSpPr>
          <p:cNvPr id="16" name="Pentagon 15">
            <a:extLst>
              <a:ext uri="{FF2B5EF4-FFF2-40B4-BE49-F238E27FC236}">
                <a16:creationId xmlns:a16="http://schemas.microsoft.com/office/drawing/2014/main" id="{B828C4A0-12BD-65C9-1D20-B00163024E6D}"/>
              </a:ext>
            </a:extLst>
          </p:cNvPr>
          <p:cNvSpPr/>
          <p:nvPr/>
        </p:nvSpPr>
        <p:spPr>
          <a:xfrm>
            <a:off x="6022260" y="4424800"/>
            <a:ext cx="5855111" cy="576000"/>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7">
            <a:extLst>
              <a:ext uri="{FF2B5EF4-FFF2-40B4-BE49-F238E27FC236}">
                <a16:creationId xmlns:a16="http://schemas.microsoft.com/office/drawing/2014/main" id="{3337D9F6-9031-8231-886B-733876EBA2C2}"/>
              </a:ext>
            </a:extLst>
          </p:cNvPr>
          <p:cNvSpPr txBox="1"/>
          <p:nvPr/>
        </p:nvSpPr>
        <p:spPr>
          <a:xfrm>
            <a:off x="6128189" y="4614422"/>
            <a:ext cx="1359971"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7</a:t>
            </a:r>
          </a:p>
        </p:txBody>
      </p:sp>
      <p:sp>
        <p:nvSpPr>
          <p:cNvPr id="18" name="Subtitle 2">
            <a:extLst>
              <a:ext uri="{FF2B5EF4-FFF2-40B4-BE49-F238E27FC236}">
                <a16:creationId xmlns:a16="http://schemas.microsoft.com/office/drawing/2014/main" id="{D9C261E0-123B-91B2-0270-4B9AA95B8DA6}"/>
              </a:ext>
            </a:extLst>
          </p:cNvPr>
          <p:cNvSpPr txBox="1">
            <a:spLocks/>
          </p:cNvSpPr>
          <p:nvPr/>
        </p:nvSpPr>
        <p:spPr>
          <a:xfrm>
            <a:off x="7120589" y="4502144"/>
            <a:ext cx="401539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Να σκέφτεστε στρατηγικά και να βλέπετε τη μεγάλη εικόνα σε κάθε στροφή.</a:t>
            </a:r>
          </a:p>
        </p:txBody>
      </p:sp>
      <p:sp>
        <p:nvSpPr>
          <p:cNvPr id="19" name="Pentagon 18">
            <a:extLst>
              <a:ext uri="{FF2B5EF4-FFF2-40B4-BE49-F238E27FC236}">
                <a16:creationId xmlns:a16="http://schemas.microsoft.com/office/drawing/2014/main" id="{D8FFFBBB-9FAE-3E5E-56B6-8A72D08644C4}"/>
              </a:ext>
            </a:extLst>
          </p:cNvPr>
          <p:cNvSpPr/>
          <p:nvPr/>
        </p:nvSpPr>
        <p:spPr>
          <a:xfrm>
            <a:off x="6022260" y="5091876"/>
            <a:ext cx="5855111" cy="576000"/>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7">
            <a:extLst>
              <a:ext uri="{FF2B5EF4-FFF2-40B4-BE49-F238E27FC236}">
                <a16:creationId xmlns:a16="http://schemas.microsoft.com/office/drawing/2014/main" id="{EF014A97-89BE-C3D4-815E-D6CC14CED091}"/>
              </a:ext>
            </a:extLst>
          </p:cNvPr>
          <p:cNvSpPr txBox="1"/>
          <p:nvPr/>
        </p:nvSpPr>
        <p:spPr>
          <a:xfrm>
            <a:off x="6128190" y="5290123"/>
            <a:ext cx="935606"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8</a:t>
            </a:r>
          </a:p>
        </p:txBody>
      </p:sp>
      <p:sp>
        <p:nvSpPr>
          <p:cNvPr id="21" name="Subtitle 2">
            <a:extLst>
              <a:ext uri="{FF2B5EF4-FFF2-40B4-BE49-F238E27FC236}">
                <a16:creationId xmlns:a16="http://schemas.microsoft.com/office/drawing/2014/main" id="{D9C6EBBB-2DFC-B84A-FEB7-C55FE6CD83E3}"/>
              </a:ext>
            </a:extLst>
          </p:cNvPr>
          <p:cNvSpPr txBox="1">
            <a:spLocks/>
          </p:cNvSpPr>
          <p:nvPr/>
        </p:nvSpPr>
        <p:spPr>
          <a:xfrm>
            <a:off x="7120589" y="5259555"/>
            <a:ext cx="458404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Παρακολουθήστε τους άλλους, αξιολογήστε, ακούστε, μάθετε</a:t>
            </a:r>
          </a:p>
        </p:txBody>
      </p:sp>
      <p:sp>
        <p:nvSpPr>
          <p:cNvPr id="22" name="Pentagon 21">
            <a:extLst>
              <a:ext uri="{FF2B5EF4-FFF2-40B4-BE49-F238E27FC236}">
                <a16:creationId xmlns:a16="http://schemas.microsoft.com/office/drawing/2014/main" id="{A6CCC2A4-4879-7625-18AF-AEBCE32FF514}"/>
              </a:ext>
            </a:extLst>
          </p:cNvPr>
          <p:cNvSpPr/>
          <p:nvPr/>
        </p:nvSpPr>
        <p:spPr>
          <a:xfrm>
            <a:off x="6022260" y="5748244"/>
            <a:ext cx="5855111" cy="576000"/>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7">
            <a:extLst>
              <a:ext uri="{FF2B5EF4-FFF2-40B4-BE49-F238E27FC236}">
                <a16:creationId xmlns:a16="http://schemas.microsoft.com/office/drawing/2014/main" id="{2389C730-D2F3-DB92-5282-8E4C95367B82}"/>
              </a:ext>
            </a:extLst>
          </p:cNvPr>
          <p:cNvSpPr txBox="1"/>
          <p:nvPr/>
        </p:nvSpPr>
        <p:spPr>
          <a:xfrm>
            <a:off x="6128189" y="5952924"/>
            <a:ext cx="851887" cy="383375"/>
          </a:xfrm>
          <a:prstGeom prst="rect">
            <a:avLst/>
          </a:prstGeom>
          <a:noFill/>
          <a:ln>
            <a:noFill/>
          </a:ln>
        </p:spPr>
        <p:txBody>
          <a:bodyPr wrap="square" rtlCol="0" anchor="ctr" anchorCtr="0">
            <a:spAutoFit/>
          </a:bodyPr>
          <a:lstStyle/>
          <a:p>
            <a:pPr lvl="0">
              <a:lnSpc>
                <a:spcPts val="1860"/>
              </a:lnSpc>
              <a:defRPr/>
            </a:pPr>
            <a:r>
              <a:rPr lang="en-GB" sz="3200" b="1" dirty="0">
                <a:solidFill>
                  <a:schemeClr val="bg1"/>
                </a:solidFill>
                <a:ea typeface="League Spartan" charset="0"/>
                <a:cs typeface="Poppins" pitchFamily="2" charset="77"/>
              </a:rPr>
              <a:t>09</a:t>
            </a:r>
          </a:p>
        </p:txBody>
      </p:sp>
      <p:sp>
        <p:nvSpPr>
          <p:cNvPr id="24" name="Subtitle 2">
            <a:extLst>
              <a:ext uri="{FF2B5EF4-FFF2-40B4-BE49-F238E27FC236}">
                <a16:creationId xmlns:a16="http://schemas.microsoft.com/office/drawing/2014/main" id="{B359C11B-D854-F462-D119-552DE9CBE95D}"/>
              </a:ext>
            </a:extLst>
          </p:cNvPr>
          <p:cNvSpPr txBox="1">
            <a:spLocks/>
          </p:cNvSpPr>
          <p:nvPr/>
        </p:nvSpPr>
        <p:spPr>
          <a:xfrm>
            <a:off x="7120589" y="592703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Να έχετε επίγνωση του εαυτού σας</a:t>
            </a:r>
          </a:p>
        </p:txBody>
      </p:sp>
      <p:cxnSp>
        <p:nvCxnSpPr>
          <p:cNvPr id="28" name="Straight Connector 27">
            <a:extLst>
              <a:ext uri="{FF2B5EF4-FFF2-40B4-BE49-F238E27FC236}">
                <a16:creationId xmlns:a16="http://schemas.microsoft.com/office/drawing/2014/main" id="{7B41A243-099F-D814-B25E-0061F6A7A78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015E3AC-B06E-DF30-2668-4C53DA0A00EC}"/>
              </a:ext>
            </a:extLst>
          </p:cNvPr>
          <p:cNvSpPr>
            <a:spLocks noGrp="1"/>
          </p:cNvSpPr>
          <p:nvPr>
            <p:ph type="body" sz="quarter" idx="18"/>
          </p:nvPr>
        </p:nvSpPr>
        <p:spPr>
          <a:xfrm>
            <a:off x="573207" y="2068778"/>
            <a:ext cx="3703854" cy="3867704"/>
          </a:xfrm>
        </p:spPr>
        <p:txBody>
          <a:bodyPr>
            <a:normAutofit/>
          </a:bodyPr>
          <a:lstStyle/>
          <a:p>
            <a:pPr marL="14288" indent="-14288">
              <a:lnSpc>
                <a:spcPts val="2280"/>
              </a:lnSpc>
              <a:spcBef>
                <a:spcPts val="0"/>
              </a:spcBef>
            </a:pPr>
            <a:r>
              <a:rPr lang="en-GB" sz="2200" b="1" dirty="0">
                <a:solidFill>
                  <a:srgbClr val="EDA13E"/>
                </a:solidFill>
                <a:ea typeface="League Spartan" charset="0"/>
                <a:cs typeface="Poppins" pitchFamily="2" charset="77"/>
              </a:rPr>
              <a:t>Προοπτική</a:t>
            </a:r>
          </a:p>
          <a:p>
            <a:pPr marL="14288" indent="-14288">
              <a:lnSpc>
                <a:spcPts val="2280"/>
              </a:lnSpc>
              <a:spcBef>
                <a:spcPts val="0"/>
              </a:spcBef>
            </a:pPr>
            <a:r>
              <a:rPr lang="en-US" sz="2200" dirty="0"/>
              <a:t>Το πώς βλέπουμε τους εαυτούς μας δεν είναι πάντα το πώς μας βλέπουν οι άλλοι... και στον εργασιακό χώρο, οι απόψεις τους έχουν μεγαλύτερη σημασία</a:t>
            </a:r>
          </a:p>
          <a:p>
            <a:pPr marL="14288" indent="-14288">
              <a:lnSpc>
                <a:spcPts val="2280"/>
              </a:lnSpc>
              <a:spcBef>
                <a:spcPts val="0"/>
              </a:spcBef>
            </a:pPr>
            <a:endParaRPr lang="en-US" sz="2200" dirty="0"/>
          </a:p>
          <a:p>
            <a:pPr marL="14288" indent="-14288">
              <a:lnSpc>
                <a:spcPts val="2280"/>
              </a:lnSpc>
              <a:spcBef>
                <a:spcPts val="0"/>
              </a:spcBef>
            </a:pPr>
            <a:r>
              <a:rPr lang="en-GB" sz="2200" b="1" dirty="0">
                <a:solidFill>
                  <a:srgbClr val="EDA13E"/>
                </a:solidFill>
                <a:ea typeface="League Spartan" charset="0"/>
                <a:cs typeface="Poppins" pitchFamily="2" charset="77"/>
              </a:rPr>
              <a:t>Υπομονή</a:t>
            </a:r>
          </a:p>
          <a:p>
            <a:pPr marL="14288" indent="-14288">
              <a:lnSpc>
                <a:spcPts val="2280"/>
              </a:lnSpc>
              <a:spcBef>
                <a:spcPts val="0"/>
              </a:spcBef>
            </a:pPr>
            <a:r>
              <a:rPr lang="en-GB" sz="2200" dirty="0">
                <a:ea typeface="Lato Light" panose="020F0502020204030203" pitchFamily="34" charset="0"/>
                <a:cs typeface="Mukta ExtraLight" panose="020B0000000000000000" pitchFamily="34" charset="77"/>
              </a:rPr>
              <a:t>Μετριάστε τη φιλοδοξία σας με υπομονή</a:t>
            </a:r>
          </a:p>
          <a:p>
            <a:pPr marL="14288" indent="-14288">
              <a:lnSpc>
                <a:spcPts val="2280"/>
              </a:lnSpc>
              <a:spcBef>
                <a:spcPts val="0"/>
              </a:spcBef>
            </a:pPr>
            <a:endParaRPr lang="en-GB" sz="2200" dirty="0">
              <a:ea typeface="League Spartan" charset="0"/>
              <a:cs typeface="Poppins" pitchFamily="2" charset="77"/>
            </a:endParaRPr>
          </a:p>
          <a:p>
            <a:pPr marL="14288" indent="-14288">
              <a:lnSpc>
                <a:spcPts val="2280"/>
              </a:lnSpc>
              <a:spcBef>
                <a:spcPts val="0"/>
              </a:spcBef>
            </a:pPr>
            <a:endParaRPr lang="en-US" sz="2200" dirty="0"/>
          </a:p>
          <a:p>
            <a:pPr marL="14288" indent="-14288">
              <a:lnSpc>
                <a:spcPts val="2280"/>
              </a:lnSpc>
              <a:spcBef>
                <a:spcPts val="0"/>
              </a:spcBef>
            </a:pPr>
            <a:endParaRPr lang="en-US" sz="2200" dirty="0"/>
          </a:p>
        </p:txBody>
      </p:sp>
      <p:sp>
        <p:nvSpPr>
          <p:cNvPr id="6" name="Text Placeholder 5">
            <a:extLst>
              <a:ext uri="{FF2B5EF4-FFF2-40B4-BE49-F238E27FC236}">
                <a16:creationId xmlns:a16="http://schemas.microsoft.com/office/drawing/2014/main" id="{59F03BA5-4D7B-BFB1-D39E-E836C9BEBFA7}"/>
              </a:ext>
            </a:extLst>
          </p:cNvPr>
          <p:cNvSpPr>
            <a:spLocks noGrp="1"/>
          </p:cNvSpPr>
          <p:nvPr>
            <p:ph type="body" sz="quarter" idx="16"/>
          </p:nvPr>
        </p:nvSpPr>
        <p:spPr>
          <a:xfrm>
            <a:off x="559530" y="522952"/>
            <a:ext cx="10808102" cy="582221"/>
          </a:xfrm>
        </p:spPr>
        <p:txBody>
          <a:bodyPr>
            <a:normAutofit lnSpcReduction="10000"/>
          </a:bodyPr>
          <a:lstStyle/>
          <a:p>
            <a:r>
              <a:rPr lang="en-US" dirty="0"/>
              <a:t>Αξίζει να σκεφτούμε</a:t>
            </a:r>
          </a:p>
          <a:p>
            <a:endParaRPr lang="en-US" dirty="0"/>
          </a:p>
        </p:txBody>
      </p:sp>
      <p:sp>
        <p:nvSpPr>
          <p:cNvPr id="7" name="Rectangle 6">
            <a:extLst>
              <a:ext uri="{FF2B5EF4-FFF2-40B4-BE49-F238E27FC236}">
                <a16:creationId xmlns:a16="http://schemas.microsoft.com/office/drawing/2014/main" id="{38E97E4C-FC74-2A5F-1406-373FED1281B0}"/>
              </a:ext>
            </a:extLst>
          </p:cNvPr>
          <p:cNvSpPr/>
          <p:nvPr/>
        </p:nvSpPr>
        <p:spPr>
          <a:xfrm>
            <a:off x="497680" y="127505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3894A25F-6917-60CF-05D2-024A3C0F233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99865" y="1467404"/>
            <a:ext cx="2628900" cy="3886200"/>
          </a:xfrm>
          <a:prstGeom prst="rect">
            <a:avLst/>
          </a:prstGeom>
        </p:spPr>
      </p:pic>
      <p:sp>
        <p:nvSpPr>
          <p:cNvPr id="9" name="Text Placeholder 3">
            <a:extLst>
              <a:ext uri="{FF2B5EF4-FFF2-40B4-BE49-F238E27FC236}">
                <a16:creationId xmlns:a16="http://schemas.microsoft.com/office/drawing/2014/main" id="{231B8F84-F0B1-F1D9-977A-EE44B11A5A27}"/>
              </a:ext>
            </a:extLst>
          </p:cNvPr>
          <p:cNvSpPr txBox="1">
            <a:spLocks/>
          </p:cNvSpPr>
          <p:nvPr/>
        </p:nvSpPr>
        <p:spPr>
          <a:xfrm>
            <a:off x="8103953" y="2068778"/>
            <a:ext cx="3680008" cy="38677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lnSpc>
                <a:spcPts val="2280"/>
              </a:lnSpc>
              <a:spcBef>
                <a:spcPts val="0"/>
              </a:spcBef>
            </a:pPr>
            <a:r>
              <a:rPr lang="en-GB" sz="2200" b="1" dirty="0">
                <a:solidFill>
                  <a:srgbClr val="EDA13E"/>
                </a:solidFill>
                <a:ea typeface="League Spartan" charset="0"/>
                <a:cs typeface="Poppins" pitchFamily="2" charset="77"/>
              </a:rPr>
              <a:t>Ειλικρίνεια προς τον εαυτό σας</a:t>
            </a:r>
          </a:p>
          <a:p>
            <a:pPr marL="14288" indent="-14288">
              <a:lnSpc>
                <a:spcPts val="2280"/>
              </a:lnSpc>
              <a:spcBef>
                <a:spcPts val="0"/>
              </a:spcBef>
            </a:pPr>
            <a:r>
              <a:rPr lang="en-GB" sz="2200" dirty="0">
                <a:solidFill>
                  <a:schemeClr val="tx2"/>
                </a:solidFill>
                <a:ea typeface="League Spartan" charset="0"/>
                <a:cs typeface="Poppins" pitchFamily="2" charset="77"/>
              </a:rPr>
              <a:t>Να είστε βάναυσα ειλικρινείς με τον εαυτό σας σχετικά με το σε τι είστε σπουδαίοι και σε τι πρέπει να δουλέψετε.</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r>
              <a:rPr lang="en-GB" sz="2200" b="1" dirty="0">
                <a:solidFill>
                  <a:srgbClr val="EDA13E"/>
                </a:solidFill>
                <a:ea typeface="League Spartan" charset="0"/>
                <a:cs typeface="Poppins" pitchFamily="2" charset="77"/>
              </a:rPr>
              <a:t>Ιδιοκτησία</a:t>
            </a:r>
          </a:p>
          <a:p>
            <a:pPr marL="14288" indent="-14288">
              <a:lnSpc>
                <a:spcPts val="2280"/>
              </a:lnSpc>
              <a:spcBef>
                <a:spcPts val="0"/>
              </a:spcBef>
            </a:pPr>
            <a:r>
              <a:rPr lang="en-GB" sz="2200" dirty="0">
                <a:solidFill>
                  <a:schemeClr val="tx2"/>
                </a:solidFill>
                <a:ea typeface="League Spartan" charset="0"/>
                <a:cs typeface="Poppins" pitchFamily="2" charset="77"/>
              </a:rPr>
              <a:t>Αναλάβετε την ευθύνη για τη δική σας ανάπτυξη και μάθηση</a:t>
            </a:r>
          </a:p>
          <a:p>
            <a:pPr marL="14288" indent="-14288">
              <a:lnSpc>
                <a:spcPts val="2280"/>
              </a:lnSpc>
              <a:spcBef>
                <a:spcPts val="0"/>
              </a:spcBef>
            </a:pPr>
            <a:endParaRPr lang="en-GB" sz="2200" dirty="0">
              <a:solidFill>
                <a:schemeClr val="tx2"/>
              </a:solidFill>
              <a:ea typeface="League Spartan" charset="0"/>
              <a:cs typeface="Poppins" pitchFamily="2" charset="77"/>
            </a:endParaRPr>
          </a:p>
          <a:p>
            <a:pPr marL="14288" indent="-14288">
              <a:lnSpc>
                <a:spcPts val="2280"/>
              </a:lnSpc>
              <a:spcBef>
                <a:spcPts val="0"/>
              </a:spcBef>
            </a:pPr>
            <a:endParaRPr lang="en-GB" sz="2200" dirty="0">
              <a:solidFill>
                <a:schemeClr val="tx2"/>
              </a:solidFill>
              <a:ea typeface="League Spartan" charset="0"/>
              <a:cs typeface="Poppins" pitchFamily="2" charset="77"/>
            </a:endParaRPr>
          </a:p>
        </p:txBody>
      </p:sp>
    </p:spTree>
    <p:extLst>
      <p:ext uri="{BB962C8B-B14F-4D97-AF65-F5344CB8AC3E}">
        <p14:creationId xmlns:p14="http://schemas.microsoft.com/office/powerpoint/2010/main" val="16201689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5659168"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Πώς διαμορφώνεται μια </a:t>
            </a:r>
            <a:r>
              <a:rPr lang="en-US" sz="2000" dirty="0" err="1">
                <a:solidFill>
                  <a:schemeClr val="bg1"/>
                </a:solidFill>
              </a:rPr>
              <a:t>οργανωτική </a:t>
            </a:r>
            <a:r>
              <a:rPr lang="en-US" sz="2000" dirty="0">
                <a:solidFill>
                  <a:schemeClr val="bg1"/>
                </a:solidFill>
              </a:rPr>
              <a:t>κουλτούρα; Μέσω έξι "μηχανισμών ενσωμάτωσης" σύμφωνα με τον Δρ Schein, πρώην καθηγητή στη Σχολή Διοίκησης του MIT Sloan</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Δημιουργώντας μια κουλτούρα για το μέλλον: Ο ρόλος του ηγέτη</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055446" y="2126977"/>
              <a:ext cx="1508362"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Προσοχή</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Τι προσέχετε συστηματικά;</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Σήματα μέσω της διαδικασίας κατάρτισης του προϋπολογισμού</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Ποια μηνύματα στέλνονται, ακούσια ή όχι, κατά τη διαδικασία κατάρτισης του προϋπολογισμού; </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Ανταμοιβές και τιμωρία</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Ποιες συμπεριφορές επιβραβεύετε και τιμωρείτε;</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Ανταπόκριση στην κρίση</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αντιδράτε σε περίοδο κρίσης;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Συνέπεια</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συγκρίνονται αυτά που λέτε με αυτά που κάνετε;</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Συμπεριφορά του ανθρώπινου δυναμικού</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ους προσλαμβάνετε, προάγετε και απολύετε- τι λέει αυτό για τις αξίες του οργανισμού;</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Προσοχή</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Προσοχή</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Ανταμοιβές + τιμωρία</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Ανταπόκριση στην κρίση</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Συνέπεια</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Συμπεριφορά HR</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Σήματα μέσω της διαδικασίας κατάρτισης του προϋπολογισμού</a:t>
                </a:r>
              </a:p>
            </p:txBody>
          </p:sp>
        </p:grpSp>
      </p:grpSp>
    </p:spTree>
    <p:extLst>
      <p:ext uri="{BB962C8B-B14F-4D97-AF65-F5344CB8AC3E}">
        <p14:creationId xmlns:p14="http://schemas.microsoft.com/office/powerpoint/2010/main" val="110737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58812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Προοπτικές ηγεσίας</a:t>
            </a:r>
          </a:p>
        </p:txBody>
      </p:sp>
      <p:sp>
        <p:nvSpPr>
          <p:cNvPr id="39" name="Rectangle 38">
            <a:extLst>
              <a:ext uri="{FF2B5EF4-FFF2-40B4-BE49-F238E27FC236}">
                <a16:creationId xmlns:a16="http://schemas.microsoft.com/office/drawing/2014/main" id="{4EE07AF6-F6C1-43D5-3062-327C6BC53BF2}"/>
              </a:ext>
            </a:extLst>
          </p:cNvPr>
          <p:cNvSpPr/>
          <p:nvPr/>
        </p:nvSpPr>
        <p:spPr>
          <a:xfrm>
            <a:off x="9526492" y="211774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7A474BCC-1FD6-7AD6-6914-C7AF595737D4}"/>
              </a:ext>
            </a:extLst>
          </p:cNvPr>
          <p:cNvGrpSpPr/>
          <p:nvPr/>
        </p:nvGrpSpPr>
        <p:grpSpPr>
          <a:xfrm>
            <a:off x="895873" y="2452236"/>
            <a:ext cx="5017427" cy="1880878"/>
            <a:chOff x="528017" y="1686516"/>
            <a:chExt cx="5017427" cy="1880878"/>
          </a:xfrm>
        </p:grpSpPr>
        <p:sp>
          <p:nvSpPr>
            <p:cNvPr id="38" name="Rounded Rectangle 37">
              <a:extLst>
                <a:ext uri="{FF2B5EF4-FFF2-40B4-BE49-F238E27FC236}">
                  <a16:creationId xmlns:a16="http://schemas.microsoft.com/office/drawing/2014/main" id="{BD89B752-650B-7F1E-5687-D3B441F06FF0}"/>
                </a:ext>
              </a:extLst>
            </p:cNvPr>
            <p:cNvSpPr/>
            <p:nvPr/>
          </p:nvSpPr>
          <p:spPr>
            <a:xfrm>
              <a:off x="528019" y="1686516"/>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
              <a:extLst>
                <a:ext uri="{FF2B5EF4-FFF2-40B4-BE49-F238E27FC236}">
                  <a16:creationId xmlns:a16="http://schemas.microsoft.com/office/drawing/2014/main" id="{5EFB2B97-E70D-24F5-3DAC-96E76825CFA3}"/>
                </a:ext>
              </a:extLst>
            </p:cNvPr>
            <p:cNvSpPr txBox="1">
              <a:spLocks/>
            </p:cNvSpPr>
            <p:nvPr/>
          </p:nvSpPr>
          <p:spPr>
            <a:xfrm>
              <a:off x="528017" y="2045993"/>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Από έντονες περιπλοκές, </a:t>
              </a:r>
              <a:br>
                <a:rPr lang="en-US" sz="2400" i="1" dirty="0"/>
              </a:br>
              <a:r>
                <a:rPr lang="en-US" sz="2400" i="1" dirty="0"/>
                <a:t>αναδύονται έντονες απλοϊκότητες".</a:t>
              </a:r>
            </a:p>
            <a:p>
              <a:pPr marL="0" indent="0" algn="ctr">
                <a:buClr>
                  <a:srgbClr val="F16924"/>
                </a:buClr>
              </a:pPr>
              <a:endParaRPr lang="en-US" sz="2400" i="1" dirty="0"/>
            </a:p>
            <a:p>
              <a:pPr marL="0" indent="0" algn="ctr">
                <a:buClr>
                  <a:srgbClr val="F16924"/>
                </a:buClr>
              </a:pPr>
              <a:r>
                <a:rPr lang="en-US" sz="2400" b="1" dirty="0">
                  <a:solidFill>
                    <a:srgbClr val="B41F7A"/>
                  </a:solidFill>
                </a:rPr>
                <a:t>Σερ Ουίνστον Τσόρτσιλ</a:t>
              </a:r>
            </a:p>
            <a:p>
              <a:pPr marL="0" indent="0" algn="ctr">
                <a:buClr>
                  <a:srgbClr val="F16924"/>
                </a:buClr>
              </a:pPr>
              <a:endParaRPr lang="en-US" sz="2400" i="1" dirty="0"/>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grpSp>
        <p:nvGrpSpPr>
          <p:cNvPr id="41" name="Group 40">
            <a:extLst>
              <a:ext uri="{FF2B5EF4-FFF2-40B4-BE49-F238E27FC236}">
                <a16:creationId xmlns:a16="http://schemas.microsoft.com/office/drawing/2014/main" id="{E2EC158F-1E2D-8E3E-C5D1-D089312618A2}"/>
              </a:ext>
            </a:extLst>
          </p:cNvPr>
          <p:cNvGrpSpPr/>
          <p:nvPr/>
        </p:nvGrpSpPr>
        <p:grpSpPr>
          <a:xfrm>
            <a:off x="5203554" y="1076785"/>
            <a:ext cx="1419492" cy="1033414"/>
            <a:chOff x="3400450" y="986392"/>
            <a:chExt cx="1487826" cy="1083162"/>
          </a:xfrm>
          <a:solidFill>
            <a:srgbClr val="F16924"/>
          </a:solidFill>
        </p:grpSpPr>
        <p:sp>
          <p:nvSpPr>
            <p:cNvPr id="42" name="Freeform 41">
              <a:extLst>
                <a:ext uri="{FF2B5EF4-FFF2-40B4-BE49-F238E27FC236}">
                  <a16:creationId xmlns:a16="http://schemas.microsoft.com/office/drawing/2014/main" id="{FBD270B9-7C5F-8207-EB73-A9FA816557AC}"/>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F16924"/>
            </a:solidFill>
            <a:ln w="8971"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74ADE70C-91AF-F0E5-17E9-5CBF055190C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grpSp>
        <p:nvGrpSpPr>
          <p:cNvPr id="6" name="Group 5">
            <a:extLst>
              <a:ext uri="{FF2B5EF4-FFF2-40B4-BE49-F238E27FC236}">
                <a16:creationId xmlns:a16="http://schemas.microsoft.com/office/drawing/2014/main" id="{C5AC1927-7FAA-065C-E927-30B39DE5CC85}"/>
              </a:ext>
            </a:extLst>
          </p:cNvPr>
          <p:cNvGrpSpPr/>
          <p:nvPr/>
        </p:nvGrpSpPr>
        <p:grpSpPr>
          <a:xfrm>
            <a:off x="6327419" y="2452236"/>
            <a:ext cx="5017427" cy="1880878"/>
            <a:chOff x="5959563" y="1654903"/>
            <a:chExt cx="5017427" cy="1880878"/>
          </a:xfrm>
        </p:grpSpPr>
        <p:sp>
          <p:nvSpPr>
            <p:cNvPr id="44" name="Rounded Rectangle 43">
              <a:extLst>
                <a:ext uri="{FF2B5EF4-FFF2-40B4-BE49-F238E27FC236}">
                  <a16:creationId xmlns:a16="http://schemas.microsoft.com/office/drawing/2014/main" id="{E9569E45-7799-D88E-6524-3CB0C2E71ABA}"/>
                </a:ext>
              </a:extLst>
            </p:cNvPr>
            <p:cNvSpPr/>
            <p:nvPr/>
          </p:nvSpPr>
          <p:spPr>
            <a:xfrm>
              <a:off x="5959565" y="1654903"/>
              <a:ext cx="4958318" cy="1880878"/>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1">
              <a:extLst>
                <a:ext uri="{FF2B5EF4-FFF2-40B4-BE49-F238E27FC236}">
                  <a16:creationId xmlns:a16="http://schemas.microsoft.com/office/drawing/2014/main" id="{E50D04F3-332D-9C05-0CE9-0A492C5DEE0C}"/>
                </a:ext>
              </a:extLst>
            </p:cNvPr>
            <p:cNvSpPr txBox="1">
              <a:spLocks/>
            </p:cNvSpPr>
            <p:nvPr/>
          </p:nvSpPr>
          <p:spPr>
            <a:xfrm>
              <a:off x="5959563" y="2014380"/>
              <a:ext cx="5017427" cy="148158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Υπάρχουν απλές απαντήσεις. </a:t>
              </a:r>
              <a:br>
                <a:rPr lang="en-US" sz="2400" i="1" dirty="0"/>
              </a:br>
              <a:r>
                <a:rPr lang="en-US" sz="2400" i="1" dirty="0"/>
                <a:t>Απλά δεν υπάρχουν εύκολες απαντήσεις".</a:t>
              </a:r>
            </a:p>
            <a:p>
              <a:pPr marL="0" indent="0" algn="ctr">
                <a:buClr>
                  <a:srgbClr val="F16924"/>
                </a:buClr>
              </a:pPr>
              <a:endParaRPr lang="en-US" sz="2400" i="1" dirty="0"/>
            </a:p>
            <a:p>
              <a:pPr marL="0" indent="0" algn="ctr">
                <a:buClr>
                  <a:srgbClr val="F16924"/>
                </a:buClr>
              </a:pPr>
              <a:r>
                <a:rPr lang="en-US" sz="2400" b="1" dirty="0">
                  <a:solidFill>
                    <a:srgbClr val="B41F7A"/>
                  </a:solidFill>
                </a:rPr>
                <a:t>Ρόναλντ Ρέιγκαν</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grpSp>
      <p:sp>
        <p:nvSpPr>
          <p:cNvPr id="2" name="Rounded Rectangle 1">
            <a:extLst>
              <a:ext uri="{FF2B5EF4-FFF2-40B4-BE49-F238E27FC236}">
                <a16:creationId xmlns:a16="http://schemas.microsoft.com/office/drawing/2014/main" id="{60B53E3A-6D99-18B4-6814-7CC618C3FA71}"/>
              </a:ext>
            </a:extLst>
          </p:cNvPr>
          <p:cNvSpPr/>
          <p:nvPr/>
        </p:nvSpPr>
        <p:spPr>
          <a:xfrm>
            <a:off x="895873" y="5108501"/>
            <a:ext cx="10400252" cy="948082"/>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1">
            <a:extLst>
              <a:ext uri="{FF2B5EF4-FFF2-40B4-BE49-F238E27FC236}">
                <a16:creationId xmlns:a16="http://schemas.microsoft.com/office/drawing/2014/main" id="{A6FB1ED6-D56D-B646-761C-A1D917E03D9D}"/>
              </a:ext>
            </a:extLst>
          </p:cNvPr>
          <p:cNvSpPr txBox="1">
            <a:spLocks/>
          </p:cNvSpPr>
          <p:nvPr/>
        </p:nvSpPr>
        <p:spPr>
          <a:xfrm>
            <a:off x="895873" y="5381373"/>
            <a:ext cx="10389866" cy="488486"/>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sz="2400" i="1" dirty="0"/>
              <a:t>"Κάνε το σωστό και κάνε το τώρα". </a:t>
            </a:r>
            <a:r>
              <a:rPr lang="en-US" sz="2400" b="1" dirty="0">
                <a:solidFill>
                  <a:srgbClr val="B41F7A"/>
                </a:solidFill>
              </a:rPr>
              <a:t>Jim Ellis</a:t>
            </a:r>
          </a:p>
          <a:p>
            <a:pPr marL="0" indent="0" algn="ctr">
              <a:buClr>
                <a:srgbClr val="F16924"/>
              </a:buClr>
            </a:pPr>
            <a:endParaRPr lang="en-US" sz="2400" i="1" dirty="0"/>
          </a:p>
          <a:p>
            <a:pPr marL="342900" indent="-342900" algn="ctr">
              <a:buClr>
                <a:srgbClr val="F16924"/>
              </a:buClr>
              <a:buFont typeface="Arial" panose="020B0604020202020204" pitchFamily="34" charset="0"/>
              <a:buChar char="•"/>
            </a:pPr>
            <a:endParaRPr lang="en-US" sz="2400" i="1" dirty="0"/>
          </a:p>
        </p:txBody>
      </p:sp>
      <p:sp>
        <p:nvSpPr>
          <p:cNvPr id="5" name="TextBox 4">
            <a:extLst>
              <a:ext uri="{FF2B5EF4-FFF2-40B4-BE49-F238E27FC236}">
                <a16:creationId xmlns:a16="http://schemas.microsoft.com/office/drawing/2014/main" id="{0926CC99-512D-FA87-245E-722664B09142}"/>
              </a:ext>
            </a:extLst>
          </p:cNvPr>
          <p:cNvSpPr txBox="1"/>
          <p:nvPr/>
        </p:nvSpPr>
        <p:spPr>
          <a:xfrm>
            <a:off x="-1" y="4536942"/>
            <a:ext cx="12191999" cy="523220"/>
          </a:xfrm>
          <a:prstGeom prst="rect">
            <a:avLst/>
          </a:prstGeom>
          <a:noFill/>
        </p:spPr>
        <p:txBody>
          <a:bodyPr wrap="square">
            <a:spAutoFit/>
          </a:bodyPr>
          <a:lstStyle/>
          <a:p>
            <a:pPr algn="ctr">
              <a:lnSpc>
                <a:spcPct val="100000"/>
              </a:lnSpc>
              <a:spcBef>
                <a:spcPts val="600"/>
              </a:spcBef>
            </a:pPr>
            <a:r>
              <a:rPr lang="en-GB" altLang="de-DE" sz="2800" dirty="0">
                <a:solidFill>
                  <a:srgbClr val="F16924"/>
                </a:solidFill>
                <a:sym typeface="Wingdings" panose="05000000000000000000" pitchFamily="2" charset="2"/>
              </a:rPr>
              <a:t>Και όταν όλα τα άλλα αποτύχουν: </a:t>
            </a:r>
          </a:p>
        </p:txBody>
      </p:sp>
    </p:spTree>
    <p:extLst>
      <p:ext uri="{BB962C8B-B14F-4D97-AF65-F5344CB8AC3E}">
        <p14:creationId xmlns:p14="http://schemas.microsoft.com/office/powerpoint/2010/main" val="35535033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D747CA94-EC4B-4A3E-B0C8-57A8FA6AF204}"/>
              </a:ext>
            </a:extLst>
          </p:cNvPr>
          <p:cNvGrpSpPr/>
          <p:nvPr/>
        </p:nvGrpSpPr>
        <p:grpSpPr>
          <a:xfrm>
            <a:off x="1152987" y="1249561"/>
            <a:ext cx="11039013" cy="4998204"/>
            <a:chOff x="1871717" y="2434934"/>
            <a:chExt cx="9120653" cy="4129616"/>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1871717" y="4639528"/>
              <a:ext cx="2163734" cy="461665"/>
            </a:xfrm>
            <a:prstGeom prst="rect">
              <a:avLst/>
            </a:prstGeom>
            <a:noFill/>
          </p:spPr>
          <p:txBody>
            <a:bodyPr wrap="none" rtlCol="0" anchor="b" anchorCtr="0">
              <a:spAutoFit/>
            </a:bodyPr>
            <a:lstStyle/>
            <a:p>
              <a:pPr lvl="0" algn="r">
                <a:defRPr/>
              </a:pPr>
              <a:r>
                <a:rPr lang="en-GB" sz="2400" dirty="0">
                  <a:solidFill>
                    <a:srgbClr val="B41F7A"/>
                  </a:solidFill>
                  <a:ea typeface="League Spartan" charset="0"/>
                  <a:cs typeface="Poppins" pitchFamily="2" charset="77"/>
                </a:rPr>
                <a:t>Επικοινωνία</a:t>
              </a:r>
            </a:p>
          </p:txBody>
        </p:sp>
        <p:sp>
          <p:nvSpPr>
            <p:cNvPr id="16" name="TextBox 77">
              <a:extLst>
                <a:ext uri="{FF2B5EF4-FFF2-40B4-BE49-F238E27FC236}">
                  <a16:creationId xmlns:a16="http://schemas.microsoft.com/office/drawing/2014/main" id="{2C09D491-B98B-98CF-77FE-0FEE33D01FC2}"/>
                </a:ext>
              </a:extLst>
            </p:cNvPr>
            <p:cNvSpPr txBox="1"/>
            <p:nvPr/>
          </p:nvSpPr>
          <p:spPr>
            <a:xfrm>
              <a:off x="2936173" y="3777043"/>
              <a:ext cx="1216167" cy="461665"/>
            </a:xfrm>
            <a:prstGeom prst="rect">
              <a:avLst/>
            </a:prstGeom>
            <a:noFill/>
          </p:spPr>
          <p:txBody>
            <a:bodyPr wrap="none" lIns="91440" tIns="45720" rIns="91440" bIns="45720" rtlCol="0" anchor="b" anchorCtr="0">
              <a:spAutoFit/>
            </a:bodyPr>
            <a:lstStyle/>
            <a:p>
              <a:pPr lvl="0" algn="r">
                <a:defRPr/>
              </a:pPr>
              <a:r>
                <a:rPr lang="en-GB" sz="2400" dirty="0">
                  <a:solidFill>
                    <a:srgbClr val="F16924"/>
                  </a:solidFill>
                  <a:ea typeface="League Spartan" charset="0"/>
                  <a:cs typeface="Poppins" pitchFamily="2" charset="77"/>
                </a:rPr>
                <a:t>Θάρρος</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81969" y="3777043"/>
              <a:ext cx="3710401" cy="461665"/>
            </a:xfrm>
            <a:prstGeom prst="rect">
              <a:avLst/>
            </a:prstGeom>
            <a:noFill/>
          </p:spPr>
          <p:txBody>
            <a:bodyPr wrap="square" rtlCol="0" anchor="b" anchorCtr="0">
              <a:spAutoFit/>
            </a:bodyPr>
            <a:lstStyle/>
            <a:p>
              <a:pPr lvl="0">
                <a:defRPr/>
              </a:pPr>
              <a:r>
                <a:rPr lang="en-GB" sz="2400" dirty="0">
                  <a:solidFill>
                    <a:srgbClr val="B41F7A"/>
                  </a:solidFill>
                  <a:ea typeface="League Spartan" charset="0"/>
                  <a:cs typeface="Poppins" pitchFamily="2" charset="77"/>
                </a:rPr>
                <a:t>Αξιοπιστία</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9466" y="5926036"/>
              <a:ext cx="962123" cy="461665"/>
            </a:xfrm>
            <a:prstGeom prst="rect">
              <a:avLst/>
            </a:prstGeom>
            <a:noFill/>
          </p:spPr>
          <p:txBody>
            <a:bodyPr wrap="none" rtlCol="0" anchor="b" anchorCtr="0">
              <a:spAutoFit/>
            </a:bodyPr>
            <a:lstStyle/>
            <a:p>
              <a:pPr lvl="0">
                <a:defRPr/>
              </a:pPr>
              <a:r>
                <a:rPr lang="en-GB" sz="2400" dirty="0">
                  <a:solidFill>
                    <a:srgbClr val="EDA13E"/>
                  </a:solidFill>
                  <a:ea typeface="League Spartan" charset="0"/>
                  <a:cs typeface="Poppins" pitchFamily="2" charset="77"/>
                </a:rPr>
                <a:t>Πιο κοντά</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580339" y="4679343"/>
              <a:ext cx="1699504" cy="461665"/>
            </a:xfrm>
            <a:prstGeom prst="rect">
              <a:avLst/>
            </a:prstGeom>
            <a:noFill/>
          </p:spPr>
          <p:txBody>
            <a:bodyPr wrap="none" rtlCol="0" anchor="b" anchorCtr="0">
              <a:spAutoFit/>
            </a:bodyPr>
            <a:lstStyle/>
            <a:p>
              <a:pPr lvl="0">
                <a:defRPr/>
              </a:pPr>
              <a:r>
                <a:rPr lang="en-GB" sz="2400" dirty="0">
                  <a:solidFill>
                    <a:srgbClr val="EDA13E"/>
                  </a:solidFill>
                  <a:ea typeface="Lato Light" charset="0"/>
                  <a:cs typeface="Lato Light" charset="0"/>
                </a:rPr>
                <a:t>Συμπόνια</a:t>
              </a:r>
              <a:endParaRPr kumimoji="0" lang="en-GB" sz="2400" i="0" u="none" strike="noStrike" kern="1200" cap="none" spc="0" normalizeH="0" baseline="0" noProof="0" dirty="0">
                <a:ln>
                  <a:noFill/>
                </a:ln>
                <a:solidFill>
                  <a:srgbClr val="F16924"/>
                </a:solidFill>
                <a:effectLst/>
                <a:uLnTx/>
                <a:uFillTx/>
                <a:ea typeface="League Spartan" charset="0"/>
                <a:cs typeface="Poppins" pitchFamily="2" charset="77"/>
              </a:endParaRPr>
            </a:p>
          </p:txBody>
        </p:sp>
        <p:sp>
          <p:nvSpPr>
            <p:cNvPr id="20" name="TextBox 49">
              <a:extLst>
                <a:ext uri="{FF2B5EF4-FFF2-40B4-BE49-F238E27FC236}">
                  <a16:creationId xmlns:a16="http://schemas.microsoft.com/office/drawing/2014/main" id="{A80C7F55-B29D-7BA5-5CAD-4BC800D5741E}"/>
                </a:ext>
              </a:extLst>
            </p:cNvPr>
            <p:cNvSpPr txBox="1"/>
            <p:nvPr/>
          </p:nvSpPr>
          <p:spPr>
            <a:xfrm>
              <a:off x="3413621" y="5860387"/>
              <a:ext cx="1216167" cy="461665"/>
            </a:xfrm>
            <a:prstGeom prst="rect">
              <a:avLst/>
            </a:prstGeom>
            <a:noFill/>
          </p:spPr>
          <p:txBody>
            <a:bodyPr wrap="none" rtlCol="0" anchor="b" anchorCtr="0">
              <a:spAutoFit/>
            </a:bodyPr>
            <a:lstStyle/>
            <a:p>
              <a:pPr lvl="0" algn="r">
                <a:defRPr/>
              </a:pPr>
              <a:r>
                <a:rPr lang="en-GB" sz="2400" dirty="0">
                  <a:solidFill>
                    <a:srgbClr val="7F1C58"/>
                  </a:solidFill>
                  <a:ea typeface="League Spartan" charset="0"/>
                  <a:cs typeface="Poppins" pitchFamily="2" charset="77"/>
                </a:rPr>
                <a:t>Θάρρος</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650769" y="2434934"/>
              <a:ext cx="2272682" cy="461665"/>
            </a:xfrm>
            <a:prstGeom prst="rect">
              <a:avLst/>
            </a:prstGeom>
            <a:noFill/>
          </p:spPr>
          <p:txBody>
            <a:bodyPr wrap="square" rtlCol="0" anchor="b" anchorCtr="0">
              <a:spAutoFit/>
            </a:bodyPr>
            <a:lstStyle/>
            <a:p>
              <a:pPr lvl="0" algn="ctr">
                <a:defRPr/>
              </a:pPr>
              <a:r>
                <a:rPr lang="en-GB" sz="2400" dirty="0">
                  <a:solidFill>
                    <a:srgbClr val="7F1C58"/>
                  </a:solidFill>
                  <a:ea typeface="League Spartan" charset="0"/>
                  <a:cs typeface="Poppins" pitchFamily="2" charset="77"/>
                </a:rPr>
                <a:t>Δέσμευση</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60234" y="4377909"/>
              <a:ext cx="992580" cy="76944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400" b="1" dirty="0">
                  <a:solidFill>
                    <a:srgbClr val="595959"/>
                  </a:solidFill>
                  <a:ea typeface="League Spartan" charset="0"/>
                  <a:cs typeface="Poppins" pitchFamily="2" charset="77"/>
                </a:rPr>
                <a:t>7Cs</a:t>
              </a:r>
              <a:endParaRPr kumimoji="0" lang="en-GB" sz="44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34012"/>
            </a:xfrm>
            <a:prstGeom prst="rect">
              <a:avLst/>
            </a:prstGeom>
            <a:noFill/>
          </p:spPr>
          <p:txBody>
            <a:bodyPr wrap="square" rtlCol="0">
              <a:spAutoFit/>
            </a:bodyPr>
            <a:lstStyle/>
            <a:p>
              <a:pPr algn="ctr"/>
              <a:r>
                <a:rPr lang="en-US" sz="36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23950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platzhalter 1">
            <a:extLst>
              <a:ext uri="{FF2B5EF4-FFF2-40B4-BE49-F238E27FC236}">
                <a16:creationId xmlns:a16="http://schemas.microsoft.com/office/drawing/2014/main" id="{1706CAA4-7AF8-AB5A-EFB2-DF405B76C26B}"/>
              </a:ext>
            </a:extLst>
          </p:cNvPr>
          <p:cNvSpPr txBox="1">
            <a:spLocks/>
          </p:cNvSpPr>
          <p:nvPr/>
        </p:nvSpPr>
        <p:spPr>
          <a:xfrm>
            <a:off x="0" y="370865"/>
            <a:ext cx="12192000"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solidFill>
                  <a:schemeClr val="bg1"/>
                </a:solidFill>
              </a:rPr>
              <a:t>Απλή περίληψη της ηγεσίας: 7Cs</a:t>
            </a:r>
          </a:p>
        </p:txBody>
      </p:sp>
    </p:spTree>
    <p:extLst>
      <p:ext uri="{BB962C8B-B14F-4D97-AF65-F5344CB8AC3E}">
        <p14:creationId xmlns:p14="http://schemas.microsoft.com/office/powerpoint/2010/main" val="25497404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817721"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812830"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103226"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621028"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33484"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34841"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45134"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88857"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921216"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407850"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55944"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81746"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73568"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29574"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332" name="Rectangle 331">
            <a:extLst>
              <a:ext uri="{FF2B5EF4-FFF2-40B4-BE49-F238E27FC236}">
                <a16:creationId xmlns:a16="http://schemas.microsoft.com/office/drawing/2014/main" id="{4AD1CC34-EF04-776A-97D1-6B2C495C81FB}"/>
              </a:ext>
            </a:extLst>
          </p:cNvPr>
          <p:cNvSpPr/>
          <p:nvPr/>
        </p:nvSpPr>
        <p:spPr>
          <a:xfrm>
            <a:off x="0" y="0"/>
            <a:ext cx="477499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707231"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bg1"/>
                </a:solidFill>
              </a:rPr>
              <a:t>7 Τακτικές κριτικής σκέψης που χρησιμοποιούν οι ηγέτες με υψηλές επιδόσεις για να λαμβάνουν τεκμηριωμένες αποφάσεις</a:t>
            </a:r>
          </a:p>
          <a:p>
            <a:endParaRPr lang="en-US" sz="2800" dirty="0">
              <a:solidFill>
                <a:schemeClr val="bg1"/>
              </a:solidFill>
            </a:endParaRPr>
          </a:p>
          <a:p>
            <a:pPr>
              <a:lnSpc>
                <a:spcPts val="2220"/>
              </a:lnSpc>
              <a:spcBef>
                <a:spcPts val="0"/>
              </a:spcBef>
            </a:pPr>
            <a:r>
              <a:rPr lang="en-US" sz="1800" dirty="0">
                <a:solidFill>
                  <a:schemeClr val="bg1"/>
                </a:solidFill>
              </a:rPr>
              <a:t>Η κριτική σκέψη επιτρέπει στους ηγέτες κάθε επιπέδου να αξιολογούν τη λήψη αποφάσεων και τον τρόπο με τον οποίο αυτές οι αποφάσεις επηρεάζουν τελικά τα αποτελέσματα.</a:t>
            </a:r>
          </a:p>
          <a:p>
            <a:pPr>
              <a:lnSpc>
                <a:spcPts val="2220"/>
              </a:lnSpc>
              <a:spcBef>
                <a:spcPts val="0"/>
              </a:spcBef>
            </a:pPr>
            <a:endParaRPr lang="en-US" sz="2200" dirty="0">
              <a:solidFill>
                <a:schemeClr val="bg1"/>
              </a:solidFill>
            </a:endParaRPr>
          </a:p>
        </p:txBody>
      </p:sp>
      <p:grpSp>
        <p:nvGrpSpPr>
          <p:cNvPr id="195" name="Group 194">
            <a:extLst>
              <a:ext uri="{FF2B5EF4-FFF2-40B4-BE49-F238E27FC236}">
                <a16:creationId xmlns:a16="http://schemas.microsoft.com/office/drawing/2014/main" id="{321BF6F3-8A9C-898A-8A52-50B1306BB7FA}"/>
              </a:ext>
            </a:extLst>
          </p:cNvPr>
          <p:cNvGrpSpPr/>
          <p:nvPr/>
        </p:nvGrpSpPr>
        <p:grpSpPr>
          <a:xfrm>
            <a:off x="5103226"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Να είστε ανοιχτόμυαλοι και να παραμένετε περίεργοι. </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sp>
        <p:nvSpPr>
          <p:cNvPr id="2" name="Rectangle 1">
            <a:extLst>
              <a:ext uri="{FF2B5EF4-FFF2-40B4-BE49-F238E27FC236}">
                <a16:creationId xmlns:a16="http://schemas.microsoft.com/office/drawing/2014/main" id="{67D77CEC-A6B5-80B9-806C-9686FBF34ED7}"/>
              </a:ext>
            </a:extLst>
          </p:cNvPr>
          <p:cNvSpPr/>
          <p:nvPr/>
        </p:nvSpPr>
        <p:spPr>
          <a:xfrm>
            <a:off x="567962" y="374468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 name="Group 7">
            <a:extLst>
              <a:ext uri="{FF2B5EF4-FFF2-40B4-BE49-F238E27FC236}">
                <a16:creationId xmlns:a16="http://schemas.microsoft.com/office/drawing/2014/main" id="{12F5E59B-85E2-6F54-A0B5-A94A7551CED1}"/>
              </a:ext>
            </a:extLst>
          </p:cNvPr>
          <p:cNvGrpSpPr/>
          <p:nvPr/>
        </p:nvGrpSpPr>
        <p:grpSpPr>
          <a:xfrm>
            <a:off x="5884908"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Να είστε παρατηρητής και να ακούτε προσεκτικά. </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308706"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4461"/>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Αναστοχασμός της μάθησης. </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719110"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5052654"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4459"/>
              <a:ext cx="4391527"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Να αφομοιώνετε νέες γνώσεις και εμπειρίες. </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84908"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4460"/>
              <a:ext cx="4172881" cy="326371"/>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Καταιγισμός ιδεών με επίκεντρο τη λύση. </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308706" y="3826005"/>
            <a:ext cx="4874873" cy="712320"/>
            <a:chOff x="1416598" y="919839"/>
            <a:chExt cx="4874873"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019044"/>
              <a:ext cx="3749083"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Ξεκινήστε συζητήσεις με άλλους για να αποκτήσετε μια διαφορετική οπτική γωνία. </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103226" y="5523924"/>
            <a:ext cx="4874873" cy="712320"/>
            <a:chOff x="1416598" y="919839"/>
            <a:chExt cx="4874873"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6" y="930435"/>
              <a:ext cx="4774185"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019044"/>
              <a:ext cx="3913140" cy="557204"/>
            </a:xfrm>
            <a:prstGeom prst="rect">
              <a:avLst/>
            </a:prstGeom>
            <a:noFill/>
          </p:spPr>
          <p:txBody>
            <a:bodyPr wrap="square" numCol="1" rtlCol="0" anchor="ctr">
              <a:spAutoFit/>
            </a:bodyPr>
            <a:lstStyle/>
            <a:p>
              <a:pPr>
                <a:lnSpc>
                  <a:spcPts val="1800"/>
                </a:lnSpc>
                <a:defRPr/>
              </a:pPr>
              <a:r>
                <a:rPr lang="en-GB" dirty="0">
                  <a:solidFill>
                    <a:schemeClr val="bg1"/>
                  </a:solidFill>
                  <a:ea typeface="Lato Light" panose="020F0502020204030203" pitchFamily="34" charset="0"/>
                  <a:cs typeface="Poppins" pitchFamily="2" charset="77"/>
                </a:rPr>
                <a:t>Να αξιολογούν τις απόψεις, τις κρίσεις και τις αποφάσεις των άλλων. </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567962" y="5948083"/>
            <a:ext cx="3972718" cy="658866"/>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400" dirty="0"/>
              <a:t>Πηγή: Forbes, 2020: https://www.forbes.com/sites/forbescoachescouncil/2020/11/03/seven-critical-thinking-tactics-high-performing-leaders-to-make-informed-decisions/?sh=2ed7b3ce24f7</a:t>
            </a:r>
          </a:p>
        </p:txBody>
      </p:sp>
      <p:grpSp>
        <p:nvGrpSpPr>
          <p:cNvPr id="232" name="Group 231">
            <a:extLst>
              <a:ext uri="{FF2B5EF4-FFF2-40B4-BE49-F238E27FC236}">
                <a16:creationId xmlns:a16="http://schemas.microsoft.com/office/drawing/2014/main" id="{71F51CB9-58ED-46B8-5031-77628761E5C2}"/>
              </a:ext>
            </a:extLst>
          </p:cNvPr>
          <p:cNvGrpSpPr/>
          <p:nvPr/>
        </p:nvGrpSpPr>
        <p:grpSpPr>
          <a:xfrm>
            <a:off x="5703138"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87399"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Tree>
    <p:extLst>
      <p:ext uri="{BB962C8B-B14F-4D97-AF65-F5344CB8AC3E}">
        <p14:creationId xmlns:p14="http://schemas.microsoft.com/office/powerpoint/2010/main" val="1266324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355267" cy="4171568"/>
          </a:xfrm>
        </p:spPr>
        <p:txBody>
          <a:bodyPr>
            <a:normAutofit/>
          </a:bodyPr>
          <a:lstStyle/>
          <a:p>
            <a:pPr marL="15875" indent="-15875"/>
            <a:r>
              <a:rPr lang="en-US" dirty="0">
                <a:solidFill>
                  <a:schemeClr val="bg1"/>
                </a:solidFill>
              </a:rPr>
              <a:t>Η προσαρμοστική ηγεσία είναι ένα μοντέλο ηγεσίας που εισήχθη από τους Ronald Heifetz και Marty </a:t>
            </a:r>
            <a:r>
              <a:rPr lang="en-US" dirty="0" err="1">
                <a:solidFill>
                  <a:schemeClr val="bg1"/>
                </a:solidFill>
              </a:rPr>
              <a:t>Linsky</a:t>
            </a:r>
            <a:r>
              <a:rPr lang="en-US" dirty="0">
                <a:solidFill>
                  <a:schemeClr val="bg1"/>
                </a:solidFill>
              </a:rPr>
              <a:t>.  Ο Heifetz την ορίζει ως την πράξη της </a:t>
            </a:r>
            <a:r>
              <a:rPr lang="en-US" dirty="0" err="1">
                <a:solidFill>
                  <a:schemeClr val="bg1"/>
                </a:solidFill>
              </a:rPr>
              <a:t>κινητοποίησης </a:t>
            </a:r>
            <a:r>
              <a:rPr lang="en-US" dirty="0">
                <a:solidFill>
                  <a:schemeClr val="bg1"/>
                </a:solidFill>
              </a:rPr>
              <a:t>μιας ομάδας ατόμων για να αντιμετωπίσουν δύσκολες προκλήσεις και να αναδειχθούν θριαμβευτές στο τέλος</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fontScale="92500" lnSpcReduction="10000"/>
          </a:bodyPr>
          <a:lstStyle/>
          <a:p>
            <a:r>
              <a:rPr lang="en-GB" dirty="0">
                <a:solidFill>
                  <a:schemeClr val="bg1"/>
                </a:solidFill>
              </a:rPr>
              <a:t>Τέσσερις βασικές αρχές της προσαρμοστικής ηγεσίας</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452533" y="491603"/>
            <a:ext cx="6492666" cy="7725192"/>
          </a:xfrm>
          <a:prstGeom prst="rect">
            <a:avLst/>
          </a:prstGeom>
          <a:noFill/>
        </p:spPr>
        <p:txBody>
          <a:bodyPr wrap="square" rtlCol="0">
            <a:spAutoFit/>
          </a:bodyPr>
          <a:lstStyle/>
          <a:p>
            <a:pPr>
              <a:defRPr/>
            </a:pPr>
            <a:r>
              <a:rPr lang="en-US" sz="2400" dirty="0">
                <a:solidFill>
                  <a:srgbClr val="F16924"/>
                </a:solidFill>
              </a:rPr>
              <a:t>01 </a:t>
            </a:r>
            <a:r>
              <a:rPr lang="en-GB" sz="2400" b="1" dirty="0">
                <a:solidFill>
                  <a:srgbClr val="B41F7A"/>
                </a:solidFill>
                <a:ea typeface="Roboto" charset="0"/>
                <a:cs typeface="Roboto" charset="0"/>
              </a:rPr>
              <a:t>Συναισθηματική νοημοσύνη</a:t>
            </a:r>
            <a:endParaRPr kumimoji="0" lang="en-GB" sz="2400" b="1" i="0" u="none" strike="noStrike" kern="1200" cap="none" spc="0" normalizeH="0" baseline="0" noProof="0" dirty="0">
              <a:ln>
                <a:noFill/>
              </a:ln>
              <a:solidFill>
                <a:srgbClr val="B41F7A"/>
              </a:solidFill>
              <a:effectLst/>
              <a:uLnTx/>
              <a:uFillTx/>
              <a:ea typeface="Roboto" charset="0"/>
              <a:cs typeface="Roboto" charset="0"/>
            </a:endParaRPr>
          </a:p>
          <a:p>
            <a:pPr>
              <a:defRPr/>
            </a:pPr>
            <a:r>
              <a:rPr lang="en-GB" sz="2000" dirty="0">
                <a:solidFill>
                  <a:srgbClr val="595959"/>
                </a:solidFill>
                <a:ea typeface="Lato Light" charset="0"/>
                <a:cs typeface="Lato Light" charset="0"/>
              </a:rPr>
              <a:t>Η συναισθηματική νοημοσύνη είναι η ικανότητα να αναγνωρίζετε τα συναισθήματά σας και τα συναισθήματα των άλλων ανθρώπων. Με αυτή την επίγνωση, ένας προσαρμοστικός ηγέτης είναι σε θέση να οικοδομήσει εμπιστοσύνη με τους άλλους συμμετέχοντες και να καλλιεργήσει ποιοτικές σχέσεις.</a:t>
            </a:r>
          </a:p>
          <a:p>
            <a:pPr>
              <a:defRPr/>
            </a:pPr>
            <a:endParaRPr lang="en-GB" sz="2000" dirty="0">
              <a:solidFill>
                <a:srgbClr val="595959"/>
              </a:solidFill>
              <a:ea typeface="Lato Light" charset="0"/>
              <a:cs typeface="Lato Light"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2800" b="1" dirty="0">
              <a:solidFill>
                <a:srgbClr val="595959"/>
              </a:solidFill>
              <a:ea typeface="Roboto" charset="0"/>
              <a:cs typeface="Roboto" charset="0"/>
            </a:endParaRPr>
          </a:p>
          <a:p>
            <a:pPr lvl="0">
              <a:defRPr/>
            </a:pPr>
            <a:r>
              <a:rPr lang="en-US" sz="2400" dirty="0">
                <a:solidFill>
                  <a:srgbClr val="F16924"/>
                </a:solidFill>
              </a:rPr>
              <a:t>02 </a:t>
            </a:r>
            <a:r>
              <a:rPr lang="en-GB" sz="2400" b="1" dirty="0">
                <a:solidFill>
                  <a:srgbClr val="B41F7A"/>
                </a:solidFill>
                <a:ea typeface="Roboto" charset="0"/>
                <a:cs typeface="Roboto" charset="0"/>
              </a:rPr>
              <a:t>Οργανωτική δικαιοσύνη</a:t>
            </a:r>
          </a:p>
          <a:p>
            <a:pPr lvl="0">
              <a:defRPr/>
            </a:pPr>
            <a:r>
              <a:rPr lang="en-GB" sz="2000" dirty="0">
                <a:solidFill>
                  <a:srgbClr val="595959"/>
                </a:solidFill>
                <a:ea typeface="Roboto" charset="0"/>
                <a:cs typeface="Roboto" charset="0"/>
              </a:rPr>
              <a:t>Μια άλλη θεμελιώδης αρχή της προσαρμοστικής ηγεσίας είναι η καλλιέργεια μιας κουλτούρας ειλικρίνειας. Οι προσαρμοστικοί ηγέτες γνωρίζουν τις καλύτερες πολιτικές που πρέπει να εισαχθούν για το καλό του οργανισμού. Γνωρίζουν επίσης τους καλύτερους τρόπους εισαγωγής αυτών των αλλαγών, ώστε οι άνθρωποι να τις αγκαλιάσουν. Οι προσαρμοστικοί ηγέτες είναι πρόθυμοι να δεχτούν τις απόψεις των άλλων ανθρώπων, ως εκ τούτου, διαβεβαιώνοντάς τους ότι εκτιμώνται και γίνονται σεβαστοί.</a:t>
            </a:r>
          </a:p>
          <a:p>
            <a:pPr lvl="0">
              <a:defRPr/>
            </a:pPr>
            <a:endParaRPr lang="en-GB" sz="2000" b="1" dirty="0">
              <a:solidFill>
                <a:srgbClr val="595959"/>
              </a:solidFill>
              <a:ea typeface="Roboto" charset="0"/>
              <a:cs typeface="Roboto" charset="0"/>
            </a:endParaRPr>
          </a:p>
          <a:p>
            <a:pPr lvl="0">
              <a:defRPr/>
            </a:pPr>
            <a:r>
              <a:rPr lang="en-GB" sz="2000" b="1" dirty="0">
                <a:solidFill>
                  <a:srgbClr val="595959"/>
                </a:solidFill>
                <a:ea typeface="Roboto" charset="0"/>
                <a:cs typeface="Roboto" charset="0"/>
              </a:rPr>
              <a:t> </a:t>
            </a:r>
          </a:p>
          <a:p>
            <a:pPr lvl="0">
              <a:defRPr/>
            </a:pPr>
            <a:endParaRPr lang="en-GB" sz="2000" b="1" dirty="0">
              <a:solidFill>
                <a:srgbClr val="595959"/>
              </a:solidFill>
              <a:ea typeface="Roboto" charset="0"/>
              <a:cs typeface="Roboto" charset="0"/>
            </a:endParaRPr>
          </a:p>
          <a:p>
            <a:pPr lvl="0">
              <a:defRPr/>
            </a:pPr>
            <a:endParaRPr lang="en-GB" sz="20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85" name="Straight Connector 84">
            <a:extLst>
              <a:ext uri="{FF2B5EF4-FFF2-40B4-BE49-F238E27FC236}">
                <a16:creationId xmlns:a16="http://schemas.microsoft.com/office/drawing/2014/main" id="{A96EBBC0-F6AA-755D-0C02-D21D3B310FF0}"/>
              </a:ext>
            </a:extLst>
          </p:cNvPr>
          <p:cNvCxnSpPr>
            <a:cxnSpLocks/>
          </p:cNvCxnSpPr>
          <p:nvPr/>
        </p:nvCxnSpPr>
        <p:spPr>
          <a:xfrm>
            <a:off x="4201097" y="2781226"/>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 name="Graphic 2">
            <a:extLst>
              <a:ext uri="{FF2B5EF4-FFF2-40B4-BE49-F238E27FC236}">
                <a16:creationId xmlns:a16="http://schemas.microsoft.com/office/drawing/2014/main" id="{0D50C8A6-D78A-A1F6-7F68-3875C485B648}"/>
              </a:ext>
            </a:extLst>
          </p:cNvPr>
          <p:cNvGrpSpPr/>
          <p:nvPr/>
        </p:nvGrpSpPr>
        <p:grpSpPr>
          <a:xfrm>
            <a:off x="4409355" y="3089745"/>
            <a:ext cx="893172" cy="951060"/>
            <a:chOff x="3918554" y="774528"/>
            <a:chExt cx="868197" cy="924466"/>
          </a:xfrm>
          <a:solidFill>
            <a:srgbClr val="595959"/>
          </a:solidFill>
        </p:grpSpPr>
        <p:grpSp>
          <p:nvGrpSpPr>
            <p:cNvPr id="5" name="Graphic 2">
              <a:extLst>
                <a:ext uri="{FF2B5EF4-FFF2-40B4-BE49-F238E27FC236}">
                  <a16:creationId xmlns:a16="http://schemas.microsoft.com/office/drawing/2014/main" id="{2F54F8D6-3DEF-B991-48DD-1424D6B20C5A}"/>
                </a:ext>
              </a:extLst>
            </p:cNvPr>
            <p:cNvGrpSpPr/>
            <p:nvPr/>
          </p:nvGrpSpPr>
          <p:grpSpPr>
            <a:xfrm>
              <a:off x="3918554" y="774528"/>
              <a:ext cx="868197" cy="924466"/>
              <a:chOff x="3918554" y="774528"/>
              <a:chExt cx="868197" cy="924466"/>
            </a:xfrm>
            <a:grpFill/>
          </p:grpSpPr>
          <p:sp>
            <p:nvSpPr>
              <p:cNvPr id="49" name="Freeform 48">
                <a:extLst>
                  <a:ext uri="{FF2B5EF4-FFF2-40B4-BE49-F238E27FC236}">
                    <a16:creationId xmlns:a16="http://schemas.microsoft.com/office/drawing/2014/main" id="{D470FD77-186E-AA84-1CD3-CF227BE957A3}"/>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0" name="Freeform 49">
                <a:extLst>
                  <a:ext uri="{FF2B5EF4-FFF2-40B4-BE49-F238E27FC236}">
                    <a16:creationId xmlns:a16="http://schemas.microsoft.com/office/drawing/2014/main" id="{1B60C2F8-2688-533E-E96F-095D5928ABC1}"/>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7" name="Graphic 2">
              <a:extLst>
                <a:ext uri="{FF2B5EF4-FFF2-40B4-BE49-F238E27FC236}">
                  <a16:creationId xmlns:a16="http://schemas.microsoft.com/office/drawing/2014/main" id="{A2F25393-41BC-2F55-75A7-F92CCD78011E}"/>
                </a:ext>
              </a:extLst>
            </p:cNvPr>
            <p:cNvGrpSpPr/>
            <p:nvPr/>
          </p:nvGrpSpPr>
          <p:grpSpPr>
            <a:xfrm>
              <a:off x="3958353" y="890522"/>
              <a:ext cx="708520" cy="605461"/>
              <a:chOff x="3958353" y="890522"/>
              <a:chExt cx="708520" cy="605461"/>
            </a:xfrm>
            <a:grpFill/>
          </p:grpSpPr>
          <p:sp>
            <p:nvSpPr>
              <p:cNvPr id="47" name="Freeform 46">
                <a:extLst>
                  <a:ext uri="{FF2B5EF4-FFF2-40B4-BE49-F238E27FC236}">
                    <a16:creationId xmlns:a16="http://schemas.microsoft.com/office/drawing/2014/main" id="{305C524D-C60E-5CE8-7BBA-D5E300D7F3B7}"/>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8" name="Freeform 47">
                <a:extLst>
                  <a:ext uri="{FF2B5EF4-FFF2-40B4-BE49-F238E27FC236}">
                    <a16:creationId xmlns:a16="http://schemas.microsoft.com/office/drawing/2014/main" id="{C66506FD-60EE-7EAC-BC1F-961ABCD6C1E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1" name="Group 50">
            <a:extLst>
              <a:ext uri="{FF2B5EF4-FFF2-40B4-BE49-F238E27FC236}">
                <a16:creationId xmlns:a16="http://schemas.microsoft.com/office/drawing/2014/main" id="{55BF5329-AF7F-0CF5-5B0C-037DC77587B9}"/>
              </a:ext>
            </a:extLst>
          </p:cNvPr>
          <p:cNvGrpSpPr/>
          <p:nvPr/>
        </p:nvGrpSpPr>
        <p:grpSpPr>
          <a:xfrm>
            <a:off x="4412937" y="526006"/>
            <a:ext cx="851397" cy="988098"/>
            <a:chOff x="8360213" y="3458151"/>
            <a:chExt cx="853935" cy="991043"/>
          </a:xfrm>
          <a:solidFill>
            <a:srgbClr val="595959"/>
          </a:solidFill>
        </p:grpSpPr>
        <p:grpSp>
          <p:nvGrpSpPr>
            <p:cNvPr id="52" name="Graphic 2">
              <a:extLst>
                <a:ext uri="{FF2B5EF4-FFF2-40B4-BE49-F238E27FC236}">
                  <a16:creationId xmlns:a16="http://schemas.microsoft.com/office/drawing/2014/main" id="{D3E474DF-E89B-893F-DFF2-5B96F1F1A31A}"/>
                </a:ext>
              </a:extLst>
            </p:cNvPr>
            <p:cNvGrpSpPr/>
            <p:nvPr userDrawn="1"/>
          </p:nvGrpSpPr>
          <p:grpSpPr>
            <a:xfrm>
              <a:off x="8599192" y="3595917"/>
              <a:ext cx="375982" cy="204367"/>
              <a:chOff x="2642504" y="3763150"/>
              <a:chExt cx="375982" cy="204367"/>
            </a:xfrm>
            <a:grpFill/>
          </p:grpSpPr>
          <p:sp>
            <p:nvSpPr>
              <p:cNvPr id="58" name="Freeform 57">
                <a:extLst>
                  <a:ext uri="{FF2B5EF4-FFF2-40B4-BE49-F238E27FC236}">
                    <a16:creationId xmlns:a16="http://schemas.microsoft.com/office/drawing/2014/main" id="{3A843F1D-A4A8-6506-653F-B30E0587F723}"/>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D08DD00F-11DD-CF95-55E3-CF74699279B6}"/>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53" name="Graphic 2">
              <a:extLst>
                <a:ext uri="{FF2B5EF4-FFF2-40B4-BE49-F238E27FC236}">
                  <a16:creationId xmlns:a16="http://schemas.microsoft.com/office/drawing/2014/main" id="{2287FE16-1A32-D19D-33A4-98A59533FA83}"/>
                </a:ext>
              </a:extLst>
            </p:cNvPr>
            <p:cNvGrpSpPr/>
            <p:nvPr userDrawn="1"/>
          </p:nvGrpSpPr>
          <p:grpSpPr>
            <a:xfrm>
              <a:off x="8360213" y="3458151"/>
              <a:ext cx="853935" cy="991043"/>
              <a:chOff x="2403525" y="3625384"/>
              <a:chExt cx="853935" cy="991043"/>
            </a:xfrm>
            <a:grpFill/>
          </p:grpSpPr>
          <p:sp>
            <p:nvSpPr>
              <p:cNvPr id="54" name="Freeform 53">
                <a:extLst>
                  <a:ext uri="{FF2B5EF4-FFF2-40B4-BE49-F238E27FC236}">
                    <a16:creationId xmlns:a16="http://schemas.microsoft.com/office/drawing/2014/main" id="{DCF84E17-EBE5-8D3F-E266-DEE973D7D6C7}"/>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ADD1D31-0254-DB4D-0EB8-0936E6A6BF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6510D275-27B5-36FC-33EC-C0C3267886E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482619C3-753D-E585-5816-9E9C74930D37}"/>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1778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fontScale="92500"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Με βάση τα ευρήματα του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Διεθνούς Πλαισίου Μάθησης του Συστήματος Έγκαιρης Προειδοποίησης</a:t>
            </a:r>
            <a:r>
              <a:rPr lang="el-GR"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του έργου</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SECUR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το πακέτο και το </a:t>
            </a:r>
            <a:r>
              <a:rPr lang="en-IE" sz="2400" dirty="0" err="1">
                <a:effectLst/>
                <a:latin typeface="Calibri" panose="020F0502020204030204" pitchFamily="34" charset="0"/>
                <a:ea typeface="Calibri" panose="020F0502020204030204" pitchFamily="34" charset="0"/>
                <a:cs typeface="Calibri" panose="020F0502020204030204" pitchFamily="34" charset="0"/>
              </a:rPr>
              <a:t>μοντέλο</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μάθησης</a:t>
            </a:r>
            <a:r>
              <a:rPr lang="el-GR" sz="2400" dirty="0">
                <a:effectLst/>
                <a:latin typeface="Calibri" panose="020F0502020204030204" pitchFamily="34" charset="0"/>
                <a:ea typeface="Calibri" panose="020F0502020204030204" pitchFamily="34" charset="0"/>
                <a:cs typeface="Calibri" panose="020F0502020204030204" pitchFamily="34" charset="0"/>
              </a:rPr>
              <a:t> ΕΕΚ</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n-IE" sz="2400" dirty="0" err="1">
                <a:effectLst/>
                <a:latin typeface="Calibri" panose="020F0502020204030204" pitchFamily="34" charset="0"/>
                <a:ea typeface="Calibri" panose="020F0502020204030204" pitchFamily="34" charset="0"/>
                <a:cs typeface="Calibri" panose="020F0502020204030204" pitchFamily="34" charset="0"/>
              </a:rPr>
              <a:t>του</a:t>
            </a:r>
            <a:r>
              <a:rPr lang="en-IE" sz="2400" dirty="0">
                <a:effectLst/>
                <a:latin typeface="Calibri" panose="020F0502020204030204" pitchFamily="34" charset="0"/>
                <a:ea typeface="Calibri" panose="020F0502020204030204" pitchFamily="34" charset="0"/>
                <a:cs typeface="Calibri" panose="020F0502020204030204" pitchFamily="34" charset="0"/>
              </a:rPr>
              <a:t> </a:t>
            </a:r>
            <a:r>
              <a:rPr lang="el-GR" sz="2400" dirty="0">
                <a:effectLst/>
                <a:latin typeface="Calibri" panose="020F0502020204030204" pitchFamily="34" charset="0"/>
                <a:ea typeface="Calibri" panose="020F0502020204030204" pitchFamily="34" charset="0"/>
                <a:cs typeface="Calibri" panose="020F0502020204030204" pitchFamily="34" charset="0"/>
              </a:rPr>
              <a:t>έργου </a:t>
            </a:r>
            <a:r>
              <a:rPr lang="en-IE" sz="2400" dirty="0">
                <a:effectLst/>
                <a:latin typeface="Calibri" panose="020F0502020204030204" pitchFamily="34" charset="0"/>
                <a:ea typeface="Calibri" panose="020F0502020204030204" pitchFamily="34" charset="0"/>
                <a:cs typeface="Calibri" panose="020F0502020204030204" pitchFamily="34" charset="0"/>
              </a:rPr>
              <a:t>SECURE </a:t>
            </a:r>
            <a:r>
              <a:rPr lang="en-IE" sz="2400" dirty="0" err="1">
                <a:effectLst/>
                <a:latin typeface="Calibri" panose="020F0502020204030204" pitchFamily="34" charset="0"/>
                <a:ea typeface="Calibri" panose="020F0502020204030204" pitchFamily="34" charset="0"/>
                <a:cs typeface="Calibri" panose="020F0502020204030204" pitchFamily="34" charset="0"/>
              </a:rPr>
              <a:t>έχει</a:t>
            </a:r>
            <a:r>
              <a:rPr lang="en-IE" sz="2400" dirty="0">
                <a:effectLst/>
                <a:latin typeface="Calibri" panose="020F0502020204030204" pitchFamily="34" charset="0"/>
                <a:ea typeface="Calibri" panose="020F0502020204030204" pitchFamily="34" charset="0"/>
                <a:cs typeface="Calibri" panose="020F0502020204030204" pitchFamily="34" charset="0"/>
              </a:rPr>
              <a:t> σχεδιαστεί σε έξι ε</a:t>
            </a:r>
            <a:r>
              <a:rPr lang="el-GR" sz="2400" dirty="0" err="1">
                <a:effectLst/>
                <a:latin typeface="Calibri" panose="020F0502020204030204" pitchFamily="34" charset="0"/>
                <a:ea typeface="Calibri" panose="020F0502020204030204" pitchFamily="34" charset="0"/>
                <a:cs typeface="Calibri" panose="020F0502020204030204" pitchFamily="34" charset="0"/>
              </a:rPr>
              <a:t>νδιαφέρουσες</a:t>
            </a:r>
            <a:r>
              <a:rPr lang="en-IE" sz="2400" dirty="0">
                <a:effectLst/>
                <a:latin typeface="Calibri" panose="020F0502020204030204" pitchFamily="34" charset="0"/>
                <a:ea typeface="Calibri" panose="020F0502020204030204" pitchFamily="34" charset="0"/>
                <a:cs typeface="Calibri" panose="020F0502020204030204" pitchFamily="34" charset="0"/>
              </a:rPr>
              <a:t> ενότητες κατάρτισης:-</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0076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marR="0" lvl="0" indent="-285750" algn="l" defTabSz="755934" rtl="0" eaLnBrk="1" fontAlgn="auto" latinLnBrk="0" hangingPunct="1">
              <a:lnSpc>
                <a:spcPts val="1520"/>
              </a:lnSpc>
              <a:spcBef>
                <a:spcPts val="0"/>
              </a:spcBef>
              <a:spcAft>
                <a:spcPts val="0"/>
              </a:spcAft>
              <a:buClr>
                <a:srgbClr val="94C33D"/>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Τι είναι μια επιχειρηματική κρίση και ποιοι είναι οι μηχανισμοί έγκαιρης ανίχνευσης;</a:t>
            </a:r>
          </a:p>
          <a:p>
            <a:pPr marL="285750" marR="0" lvl="0" indent="-285750" algn="l" defTabSz="755934" rtl="0" eaLnBrk="1" fontAlgn="auto" latinLnBrk="0" hangingPunct="1">
              <a:lnSpc>
                <a:spcPts val="1520"/>
              </a:lnSpc>
              <a:spcBef>
                <a:spcPts val="0"/>
              </a:spcBef>
              <a:spcAft>
                <a:spcPts val="0"/>
              </a:spcAft>
              <a:buClr>
                <a:srgbClr val="94C33D"/>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Γνωρίζοντας πότε - μια επισκόπηση των 3 φάσεων της κρίσης των ΜΜΕ/επιχειρήσεων - κύρια στάδια, το στάδιο πριν από την κρίση, το ίδιο το στάδιο της διαχείρισης και της αντιμετώπισης και το στάδιο μετά την κρίση.</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Α ΒΑΣΙΚ</a:t>
            </a: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Α</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en-US" sz="1700" b="1" i="0" u="none" strike="noStrike" kern="1200" cap="none" spc="0" normalizeH="0" baseline="0" noProof="0" dirty="0">
              <a:ln>
                <a:noFill/>
              </a:ln>
              <a:solidFill>
                <a:srgbClr val="B41F7A"/>
              </a:solidFill>
              <a:effectLst/>
              <a:uLnTx/>
              <a:uFillTx/>
              <a:latin typeface="Calibri" panose="020F0502020204030204" pitchFamily="34" charset="0"/>
              <a:ea typeface="+mn-ea"/>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marR="0" lvl="0" indent="0" algn="just" defTabSz="755934" rtl="0" eaLnBrk="1" fontAlgn="auto" latinLnBrk="0" hangingPunct="1">
              <a:lnSpc>
                <a:spcPts val="1520"/>
              </a:lnSpc>
              <a:spcBef>
                <a:spcPts val="0"/>
              </a:spcBef>
              <a:spcAft>
                <a:spcPts val="0"/>
              </a:spcAft>
              <a:buClr>
                <a:srgbClr val="94C33D"/>
              </a:buClr>
              <a:buSzTx/>
              <a:buFont typeface="Arial" panose="020B0604020202020204" pitchFamily="34" charset="0"/>
              <a:buNone/>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Δεν το είχατε προβλέψει, συνήθως δεν είναι κάτι για το οποίο είστε προετοιμασμένοι, αλλά μόλις συμβεί, εύχεστε να ήσασταν, π.χ. φυσική κρίση, αποδυνάμωση της οικονομίας και συμφορές, περιβάλλον της αγοράς π.χ. αλυσίδες εφοδιασμού , θέματα που σχετίζονται με την τεχνολογία .</a:t>
            </a:r>
          </a:p>
        </p:txBody>
      </p:sp>
      <p:sp>
        <p:nvSpPr>
          <p:cNvPr id="24" name="Rectangle 23">
            <a:extLst>
              <a:ext uri="{FF2B5EF4-FFF2-40B4-BE49-F238E27FC236}">
                <a16:creationId xmlns:a16="http://schemas.microsoft.com/office/drawing/2014/main" id="{D263234C-8544-8496-E925-CA8F026DDDAF}"/>
              </a:ext>
            </a:extLst>
          </p:cNvPr>
          <p:cNvSpPr/>
          <p:nvPr/>
        </p:nvSpPr>
        <p:spPr>
          <a:xfrm>
            <a:off x="3752850" y="1405824"/>
            <a:ext cx="8082931" cy="353943"/>
          </a:xfrm>
          <a:prstGeom prst="rect">
            <a:avLst/>
          </a:prstGeom>
        </p:spPr>
        <p:txBody>
          <a:bodyPr wrap="square">
            <a:spAutoFit/>
          </a:bodyPr>
          <a:lstStyle/>
          <a:p>
            <a:pPr algn="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ΙΑ ΚΡΙΣΗ ΠΡΟΕΡΧΟΜΕΝΗ ΑΠΌ ΕΞΩΤΕΡΙΚΟΥΣ ΑΝΑΠΟΦΕΥΚΤΟΥΣ ΠΑΡΑΓΟΝΤΕΣ</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Διαχειριστικές δεξιότητες και κουλτούρα, </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Κρίση στις πωλήσεις προϊόντων, πελατειακή βάση, εξάρτηση, σχέσει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Συστήματα δεδομένων και εργαλεία εσωτερικής και εξωτερικής ανάλυσης εντός της επιχείρηση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Κέρδη και κρίση ρευστότητας</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Επιχειρησιακή κρίση</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Τεχνολογικές ελλείψεις - έλλειψη δεξιοτήτων και πόρων </a:t>
            </a:r>
          </a:p>
          <a:p>
            <a:pPr marL="171450" marR="0" lvl="0" indent="-171450" algn="l" defTabSz="755934" rtl="0" eaLnBrk="1" fontAlgn="auto" latinLnBrk="0" hangingPunct="1">
              <a:lnSpc>
                <a:spcPts val="1520"/>
              </a:lnSpc>
              <a:spcBef>
                <a:spcPts val="0"/>
              </a:spcBef>
              <a:spcAft>
                <a:spcPts val="0"/>
              </a:spcAft>
              <a:buClr>
                <a:srgbClr val="F29E38"/>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Οργανωτική κρίση/κρίση προσωπικού</a:t>
            </a:r>
          </a:p>
        </p:txBody>
      </p:sp>
      <p:sp>
        <p:nvSpPr>
          <p:cNvPr id="29" name="Rectangle 28">
            <a:extLst>
              <a:ext uri="{FF2B5EF4-FFF2-40B4-BE49-F238E27FC236}">
                <a16:creationId xmlns:a16="http://schemas.microsoft.com/office/drawing/2014/main" id="{BDD3F0A1-DF76-3CC5-EA43-D7F0F2F8F0B1}"/>
              </a:ext>
            </a:extLst>
          </p:cNvPr>
          <p:cNvSpPr/>
          <p:nvPr/>
        </p:nvSpPr>
        <p:spPr>
          <a:xfrm>
            <a:off x="4661647" y="2579591"/>
            <a:ext cx="7174134" cy="353943"/>
          </a:xfrm>
          <a:prstGeom prst="rect">
            <a:avLst/>
          </a:prstGeom>
        </p:spPr>
        <p:txBody>
          <a:bodyPr wrap="square">
            <a:spAutoFit/>
          </a:bodyPr>
          <a:lstStyle/>
          <a:p>
            <a:pPr algn="r"/>
            <a:r>
              <a:rPr lang="el-GR" sz="1700" b="1" dirty="0">
                <a:solidFill>
                  <a:srgbClr val="B41F7A"/>
                </a:solidFill>
                <a:latin typeface="Calibri" panose="020F0502020204030204" pitchFamily="34" charset="0"/>
                <a:ea typeface="Calibri" panose="020F0502020204030204" pitchFamily="34" charset="0"/>
                <a:cs typeface="Calibri" panose="020F0502020204030204" pitchFamily="34" charset="0"/>
              </a:rPr>
              <a:t>ΜΙΑ ΚΡΙΣΗ ΠΡΟΕΡΧΟΜΕΝΗ ΑΠΟ ΕΣΩΤΕΡΙΚΟΥΣ ΠΑΡΑΓΟΝΤΕΣ</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ΗΓΕΤΙΚ</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Η </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ΚΟΥΛΤΟ</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Υ</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ΡΑ, ΔΙΑΧΕ</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Ι</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ΡΙΣΗ ΤΩΝ ΕΝΔΙΑΦΕΡΟΜ</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Ε</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ΝΩΝ ΜΕΡ</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Ω</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Ν ΚΑΙ ΕΠΙΚΟΙΝΩΝ</a:t>
            </a:r>
            <a:r>
              <a:rPr lang="el-GR"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Ι</a:t>
            </a: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Α</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4953000" y="4723452"/>
            <a:ext cx="7003865" cy="486543"/>
          </a:xfrm>
          <a:prstGeom prst="rect">
            <a:avLst/>
          </a:prstGeom>
        </p:spPr>
        <p:txBody>
          <a:bodyPr wrap="square">
            <a:spAutoFit/>
          </a:bodyPr>
          <a:lstStyle/>
          <a:p>
            <a:pPr marL="0" marR="0" lvl="0" indent="0" algn="r" defTabSz="914400" rtl="0" eaLnBrk="1" fontAlgn="auto" latinLnBrk="0" hangingPunct="1">
              <a:lnSpc>
                <a:spcPts val="154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ΚΑΤΑΝ</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ΣΗ ΤΩΝ ΧΡΗΜΑΤΟΟΙΚΟΝΟΜΙ</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Κ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ΔΕΙΚ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ΚΑΙ ΤΩΝ ΔΕΙΚ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Ω</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Ν ΡΕΥΣ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ΗΤΑΣ &amp; ΤΗΣ ΑΦΕΡΕΓΓΥ</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Ο</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ΤΗΤΑΣ ΩΣ ΠΡΟΣ</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Ε</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ΓΓΙΣΗ</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 ΑΝΑΔΙ</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Α</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ΡΘΡΩΣΗΣ</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marR="0" lvl="0" indent="0" algn="just" defTabSz="755934" rtl="0" eaLnBrk="1" fontAlgn="auto" latinLnBrk="0" hangingPunct="1">
              <a:lnSpc>
                <a:spcPts val="1520"/>
              </a:lnSpc>
              <a:spcBef>
                <a:spcPts val="0"/>
              </a:spcBef>
              <a:spcAft>
                <a:spcPts val="0"/>
              </a:spcAft>
              <a:buClr>
                <a:srgbClr val="F29E38"/>
              </a:buClr>
              <a:buSzTx/>
              <a:buFont typeface="Arial" panose="020B0604020202020204" pitchFamily="34" charset="0"/>
              <a:buNone/>
              <a:tabLst/>
              <a:defRPr/>
            </a:pPr>
            <a:r>
              <a:rPr kumimoji="0" lang="en-GB" sz="1600" b="0" i="0" u="none" strike="noStrike" kern="1200" cap="none" spc="0" normalizeH="0" baseline="0" noProof="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rPr>
              <a:t>Ως ΜΜΕ με περιορισμένους πόρους, πώς μπορείτε να εφαρμόσετε συστήματα έγκαιρης προειδοποίησης που θα σας επιτρέπουν να εντοπίζετε κρίσεις σε πρώιμο στάδιο πριν αυτές πάρουν διαστάσεις που απειλούν την ύπαρξη της εταιρείας.</a:t>
            </a:r>
            <a:endParaRPr kumimoji="0" lang="en-GB" sz="1600" b="0" i="0" u="none" strike="noStrike" kern="1200" cap="none" spc="0" normalizeH="0" baseline="0" noProof="0" dirty="0">
              <a:ln>
                <a:noFill/>
              </a:ln>
              <a:solidFill>
                <a:srgbClr val="4B4B4B"/>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ΣΥΣΤ</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ΜΑΤΑ </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Ε</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ΓΚΑΙΡΗΣ ΠΡΟΕΙΔΟΠΟ</a:t>
            </a:r>
            <a:r>
              <a:rPr kumimoji="0" lang="el-GR"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Ι</a:t>
            </a:r>
            <a:r>
              <a:rPr kumimoji="0" lang="en-IE" sz="1700" b="1" i="0" u="none" strike="noStrike" kern="1200" cap="none" spc="0" normalizeH="0" baseline="0" noProof="0" dirty="0">
                <a:ln>
                  <a:noFill/>
                </a:ln>
                <a:solidFill>
                  <a:srgbClr val="B41F7A"/>
                </a:solidFill>
                <a:effectLst/>
                <a:uLnTx/>
                <a:uFillTx/>
                <a:latin typeface="Calibri" panose="020F0502020204030204" pitchFamily="34" charset="0"/>
                <a:ea typeface="Calibri" panose="020F0502020204030204" pitchFamily="34" charset="0"/>
                <a:cs typeface="Calibri" panose="020F0502020204030204" pitchFamily="34" charset="0"/>
              </a:rPr>
              <a:t>ΗΣΗΣ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1</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2</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3</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 </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04</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5</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marR="0" lvl="0" indent="0" algn="l" defTabSz="755934" rtl="0" eaLnBrk="1" fontAlgn="auto" latinLnBrk="0" hangingPunct="1">
              <a:lnSpc>
                <a:spcPts val="2440"/>
              </a:lnSpc>
              <a:spcBef>
                <a:spcPts val="0"/>
              </a:spcBef>
              <a:spcAft>
                <a:spcPts val="0"/>
              </a:spcAft>
              <a:buClrTx/>
              <a:buSzTx/>
              <a:buFont typeface="Arial" panose="020B0604020202020204" pitchFamily="34" charset="0"/>
              <a:buNone/>
              <a:tabLst/>
              <a:defRPr/>
            </a:pPr>
            <a:r>
              <a:rPr kumimoji="0" lang="el-GR"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ΕΝΟΤΗΤΑ</a:t>
            </a:r>
            <a:r>
              <a:rPr kumimoji="0" lang="en-IE"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rPr>
              <a:t> 06</a:t>
            </a:r>
            <a:endPar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cxnSp>
        <p:nvCxnSpPr>
          <p:cNvPr id="2" name="Straight Connector 24">
            <a:extLst>
              <a:ext uri="{FF2B5EF4-FFF2-40B4-BE49-F238E27FC236}">
                <a16:creationId xmlns:a16="http://schemas.microsoft.com/office/drawing/2014/main" id="{03B6080A-BBC2-7053-3E61-10EFBE48560C}"/>
              </a:ext>
            </a:extLst>
          </p:cNvPr>
          <p:cNvCxnSpPr>
            <a:cxnSpLocks/>
          </p:cNvCxnSpPr>
          <p:nvPr/>
        </p:nvCxnSpPr>
        <p:spPr>
          <a:xfrm>
            <a:off x="31148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4">
            <a:extLst>
              <a:ext uri="{FF2B5EF4-FFF2-40B4-BE49-F238E27FC236}">
                <a16:creationId xmlns:a16="http://schemas.microsoft.com/office/drawing/2014/main" id="{20B93D3A-30D6-3B67-64F2-9C08FFBA660E}"/>
              </a:ext>
            </a:extLst>
          </p:cNvPr>
          <p:cNvCxnSpPr>
            <a:cxnSpLocks/>
          </p:cNvCxnSpPr>
          <p:nvPr/>
        </p:nvCxnSpPr>
        <p:spPr>
          <a:xfrm>
            <a:off x="3267294" y="20501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583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fontScale="92500" lnSpcReduction="10000"/>
          </a:bodyPr>
          <a:lstStyle/>
          <a:p>
            <a:r>
              <a:rPr lang="en-GB" dirty="0">
                <a:solidFill>
                  <a:schemeClr val="bg1"/>
                </a:solidFill>
              </a:rPr>
              <a:t>Τέσσερις βασικές αρχές της προσαρμοστικής ηγεσίας</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775375" y="491603"/>
            <a:ext cx="6169824" cy="7509748"/>
          </a:xfrm>
          <a:prstGeom prst="rect">
            <a:avLst/>
          </a:prstGeom>
          <a:noFill/>
        </p:spPr>
        <p:txBody>
          <a:bodyPr wrap="square" rtlCol="0">
            <a:spAutoFit/>
          </a:bodyPr>
          <a:lstStyle/>
          <a:p>
            <a:pPr lvl="0">
              <a:defRPr/>
            </a:pPr>
            <a:r>
              <a:rPr lang="en-US" sz="2400" dirty="0">
                <a:solidFill>
                  <a:srgbClr val="F16924"/>
                </a:solidFill>
              </a:rPr>
              <a:t>03 </a:t>
            </a:r>
            <a:r>
              <a:rPr lang="en-GB" sz="2400" b="1" dirty="0">
                <a:solidFill>
                  <a:srgbClr val="B41F7A"/>
                </a:solidFill>
                <a:ea typeface="Roboto" charset="0"/>
                <a:cs typeface="Roboto" charset="0"/>
              </a:rPr>
              <a:t>Ανάπτυξη</a:t>
            </a:r>
          </a:p>
          <a:p>
            <a:pPr lvl="0">
              <a:defRPr/>
            </a:pPr>
            <a:r>
              <a:rPr lang="en-GB" sz="2000" dirty="0">
                <a:solidFill>
                  <a:srgbClr val="595959"/>
                </a:solidFill>
                <a:ea typeface="Roboto" charset="0"/>
                <a:cs typeface="Roboto" charset="0"/>
              </a:rPr>
              <a:t>Η προσαρμοστική ηγεσία συνεπάγεται τη μάθηση νέων πραγμάτων. Εάν μια τεχνική δεν αποδίδει τα επιθυμητά αποτελέσματα, ένας προσαρμοστικός ηγέτης βγαίνει από το δρόμο του για να ανακαλύψει νέες στρατηγικές που μπορούν να λειτουργήσουν. Με τις νέες τεχνικές, τόσο οι εργαζόμενοι όσο και η εταιρεία στο σύνολό της θα βιώσουν ανάπτυξη και εξέλιξη.</a:t>
            </a:r>
          </a:p>
          <a:p>
            <a:pPr lvl="0">
              <a:defRPr/>
            </a:pPr>
            <a:endParaRPr lang="en-GB" sz="2000" dirty="0">
              <a:solidFill>
                <a:srgbClr val="595959"/>
              </a:solidFill>
              <a:ea typeface="Roboto" charset="0"/>
              <a:cs typeface="Roboto" charset="0"/>
            </a:endParaRPr>
          </a:p>
          <a:p>
            <a:pPr lvl="0">
              <a:defRPr/>
            </a:pPr>
            <a:endParaRPr lang="en-GB" sz="2800" dirty="0">
              <a:solidFill>
                <a:srgbClr val="595959"/>
              </a:solidFill>
              <a:ea typeface="Roboto" charset="0"/>
              <a:cs typeface="Roboto" charset="0"/>
            </a:endParaRPr>
          </a:p>
          <a:p>
            <a:pPr lvl="0">
              <a:defRPr/>
            </a:pPr>
            <a:r>
              <a:rPr lang="en-US" sz="2400" dirty="0">
                <a:solidFill>
                  <a:srgbClr val="F16924"/>
                </a:solidFill>
              </a:rPr>
              <a:t>04 </a:t>
            </a:r>
            <a:r>
              <a:rPr lang="en-GB" sz="2400" b="1" dirty="0">
                <a:solidFill>
                  <a:srgbClr val="B41F7A"/>
                </a:solidFill>
                <a:ea typeface="Roboto" charset="0"/>
                <a:cs typeface="Roboto" charset="0"/>
              </a:rPr>
              <a:t>Χαρακτήρας</a:t>
            </a:r>
          </a:p>
          <a:p>
            <a:pPr lvl="0">
              <a:defRPr/>
            </a:pPr>
            <a:r>
              <a:rPr lang="en-GB" sz="2000" dirty="0">
                <a:solidFill>
                  <a:srgbClr val="595959"/>
                </a:solidFill>
                <a:ea typeface="Roboto" charset="0"/>
                <a:cs typeface="Roboto" charset="0"/>
              </a:rPr>
              <a:t>Η προσαρμοστική ηγεσία έχει να κάνει με τη βαθιά αίσθηση του χαρακτήρα, τη διαφάνεια και τη δημιουργικότητα. Οι προσαρμοστικοί ηγέτες μπορεί να μην έχουν πάντα δίκιο, αλλά κερδίζουν τον σεβασμό των συνεργατών τους και εφαρμόζουν στην πράξη αυτά που συνιστούν.</a:t>
            </a:r>
          </a:p>
          <a:p>
            <a:pPr lvl="0">
              <a:defRPr/>
            </a:pPr>
            <a:endParaRPr lang="en-GB" sz="2000" b="1" dirty="0">
              <a:solidFill>
                <a:srgbClr val="595959"/>
              </a:solidFill>
              <a:ea typeface="Roboto" charset="0"/>
              <a:cs typeface="Roboto" charset="0"/>
            </a:endParaRPr>
          </a:p>
          <a:p>
            <a:pPr lvl="0">
              <a:defRPr/>
            </a:pPr>
            <a:endParaRPr lang="en-GB" sz="2000" b="1" dirty="0">
              <a:solidFill>
                <a:srgbClr val="595959"/>
              </a:solidFill>
              <a:ea typeface="Roboto" charset="0"/>
              <a:cs typeface="Roboto" charset="0"/>
            </a:endParaRPr>
          </a:p>
          <a:p>
            <a:pPr lvl="0">
              <a:defRPr/>
            </a:pPr>
            <a:r>
              <a:rPr lang="en-GB" sz="2000" b="1" dirty="0">
                <a:solidFill>
                  <a:srgbClr val="595959"/>
                </a:solidFill>
                <a:ea typeface="Roboto" charset="0"/>
                <a:cs typeface="Roboto" charset="0"/>
              </a:rPr>
              <a:t> </a:t>
            </a:r>
          </a:p>
          <a:p>
            <a:pPr lvl="0">
              <a:defRPr/>
            </a:pPr>
            <a:endParaRPr lang="en-GB" sz="2200" b="1" dirty="0">
              <a:solidFill>
                <a:srgbClr val="595959"/>
              </a:solidFill>
              <a:ea typeface="Roboto" charset="0"/>
              <a:cs typeface="Roboto" charset="0"/>
            </a:endParaRPr>
          </a:p>
          <a:p>
            <a:pPr lvl="0">
              <a:defRPr/>
            </a:pPr>
            <a:endParaRPr lang="en-GB" sz="2200" b="1" dirty="0">
              <a:solidFill>
                <a:srgbClr val="595959"/>
              </a:solidFill>
              <a:ea typeface="Roboto" charset="0"/>
              <a:cs typeface="Roboto"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30" name="Group 29">
            <a:extLst>
              <a:ext uri="{FF2B5EF4-FFF2-40B4-BE49-F238E27FC236}">
                <a16:creationId xmlns:a16="http://schemas.microsoft.com/office/drawing/2014/main" id="{F0FE1B05-3855-8C18-61BC-529127DE17EE}"/>
              </a:ext>
            </a:extLst>
          </p:cNvPr>
          <p:cNvGrpSpPr/>
          <p:nvPr/>
        </p:nvGrpSpPr>
        <p:grpSpPr>
          <a:xfrm>
            <a:off x="4499771" y="3704861"/>
            <a:ext cx="874626" cy="976884"/>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582913" y="579205"/>
            <a:ext cx="851252" cy="850323"/>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a:cxnSpLocks/>
          </p:cNvCxnSpPr>
          <p:nvPr/>
        </p:nvCxnSpPr>
        <p:spPr>
          <a:xfrm>
            <a:off x="4201097" y="325221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descr="Icon&#10;&#10;Description automatically generated">
            <a:extLst>
              <a:ext uri="{FF2B5EF4-FFF2-40B4-BE49-F238E27FC236}">
                <a16:creationId xmlns:a16="http://schemas.microsoft.com/office/drawing/2014/main" id="{EA291DB4-20C1-EC01-343C-1B3AB7A7924F}"/>
              </a:ext>
            </a:extLst>
          </p:cNvPr>
          <p:cNvPicPr/>
          <p:nvPr/>
        </p:nvPicPr>
        <p:blipFill rotWithShape="1">
          <a:blip r:embed="rId3" cstate="screen">
            <a:extLst>
              <a:ext uri="{28A0092B-C50C-407E-A947-70E740481C1C}">
                <a14:useLocalDpi xmlns:a14="http://schemas.microsoft.com/office/drawing/2010/main"/>
              </a:ext>
            </a:extLst>
          </a:blip>
          <a:srcRect l="4723" t="-17878" r="23712" b="40521"/>
          <a:stretch/>
        </p:blipFill>
        <p:spPr>
          <a:xfrm>
            <a:off x="-102230" y="2637783"/>
            <a:ext cx="4250484" cy="4220217"/>
          </a:xfrm>
          <a:prstGeom prst="rect">
            <a:avLst/>
          </a:prstGeom>
        </p:spPr>
      </p:pic>
    </p:spTree>
    <p:extLst>
      <p:ext uri="{BB962C8B-B14F-4D97-AF65-F5344CB8AC3E}">
        <p14:creationId xmlns:p14="http://schemas.microsoft.com/office/powerpoint/2010/main" val="13535770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380563-89E8-BD90-3646-73619EBFDEA2}"/>
              </a:ext>
            </a:extLst>
          </p:cNvPr>
          <p:cNvSpPr>
            <a:spLocks noGrp="1"/>
          </p:cNvSpPr>
          <p:nvPr>
            <p:ph type="body" sz="quarter" idx="18"/>
          </p:nvPr>
        </p:nvSpPr>
        <p:spPr>
          <a:xfrm>
            <a:off x="734714" y="1483386"/>
            <a:ext cx="4819420" cy="4511013"/>
          </a:xfrm>
        </p:spPr>
        <p:txBody>
          <a:bodyPr>
            <a:normAutofit/>
          </a:bodyPr>
          <a:lstStyle/>
          <a:p>
            <a:pPr marL="15875" indent="0">
              <a:lnSpc>
                <a:spcPts val="2280"/>
              </a:lnSpc>
              <a:spcBef>
                <a:spcPts val="0"/>
              </a:spcBef>
            </a:pPr>
            <a:r>
              <a:rPr lang="en-US" sz="1800" dirty="0"/>
              <a:t>Η ομαδική εργασία απαιτείται σε περιπτώσεις κρίσης λόγω της ανάγκης να αντιδράσουμε γρήγορα και να ενεργήσουμε με ενιαίο και δομημένο τρόπο. Η στοχευμένη επικοινωνία και ο συντονισμός των καθηκόντων εντός της ομάδας είναι ζωτικής σημασίας για την επιτυχή αντιμετώπιση εκτάκτων αναγκών και κρίσεων.</a:t>
            </a:r>
          </a:p>
          <a:p>
            <a:pPr marL="15875" indent="0">
              <a:lnSpc>
                <a:spcPts val="2280"/>
              </a:lnSpc>
              <a:spcBef>
                <a:spcPts val="0"/>
              </a:spcBef>
            </a:pPr>
            <a:endParaRPr lang="en-US" sz="1800" dirty="0"/>
          </a:p>
          <a:p>
            <a:pPr marL="15875" indent="0">
              <a:lnSpc>
                <a:spcPts val="2280"/>
              </a:lnSpc>
              <a:spcBef>
                <a:spcPts val="0"/>
              </a:spcBef>
            </a:pPr>
            <a:r>
              <a:rPr lang="en-US" sz="1800" b="1" dirty="0" err="1"/>
              <a:t>Οι οργανισμοί </a:t>
            </a:r>
            <a:r>
              <a:rPr lang="en-US" sz="1800" b="1" dirty="0"/>
              <a:t>συγκροτούν ομάδες διαχείρισης κρίσεων για να αποφασίσουν τη μελλοντική πορεία δράσης και να σχεδιάσουν στρατηγικές που θα τους βοηθήσουν να βγουν από δύσκολες στιγμές το συντομότερο δυνατό.</a:t>
            </a:r>
          </a:p>
          <a:p>
            <a:pPr marL="15875" indent="0">
              <a:lnSpc>
                <a:spcPts val="2280"/>
              </a:lnSpc>
              <a:spcBef>
                <a:spcPts val="0"/>
              </a:spcBef>
            </a:pPr>
            <a:endParaRPr lang="en-US" sz="2200" dirty="0"/>
          </a:p>
        </p:txBody>
      </p:sp>
      <p:sp>
        <p:nvSpPr>
          <p:cNvPr id="3" name="Text Placeholder 2">
            <a:extLst>
              <a:ext uri="{FF2B5EF4-FFF2-40B4-BE49-F238E27FC236}">
                <a16:creationId xmlns:a16="http://schemas.microsoft.com/office/drawing/2014/main" id="{56FEDDCE-192C-7F85-9159-F457C6AB5B60}"/>
              </a:ext>
            </a:extLst>
          </p:cNvPr>
          <p:cNvSpPr>
            <a:spLocks noGrp="1"/>
          </p:cNvSpPr>
          <p:nvPr>
            <p:ph type="body" sz="quarter" idx="16"/>
          </p:nvPr>
        </p:nvSpPr>
        <p:spPr>
          <a:xfrm>
            <a:off x="734714" y="524441"/>
            <a:ext cx="5085159" cy="582221"/>
          </a:xfrm>
        </p:spPr>
        <p:txBody>
          <a:bodyPr>
            <a:normAutofit lnSpcReduction="10000"/>
          </a:bodyPr>
          <a:lstStyle/>
          <a:p>
            <a:r>
              <a:rPr lang="en-US" dirty="0"/>
              <a:t>Ομαδική εργασία</a:t>
            </a:r>
          </a:p>
        </p:txBody>
      </p:sp>
      <p:sp>
        <p:nvSpPr>
          <p:cNvPr id="7" name="Rectangle 6">
            <a:extLst>
              <a:ext uri="{FF2B5EF4-FFF2-40B4-BE49-F238E27FC236}">
                <a16:creationId xmlns:a16="http://schemas.microsoft.com/office/drawing/2014/main" id="{69B73B7C-CF88-9CE8-6993-E1BD6C1E0CC8}"/>
              </a:ext>
            </a:extLst>
          </p:cNvPr>
          <p:cNvSpPr/>
          <p:nvPr/>
        </p:nvSpPr>
        <p:spPr>
          <a:xfrm>
            <a:off x="5819873" y="0"/>
            <a:ext cx="1957703" cy="599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80B4B7E6-5AD4-536D-3A76-DFE192B4AD06}"/>
              </a:ext>
            </a:extLst>
          </p:cNvPr>
          <p:cNvSpPr txBox="1"/>
          <p:nvPr/>
        </p:nvSpPr>
        <p:spPr>
          <a:xfrm>
            <a:off x="6101179" y="747819"/>
            <a:ext cx="5599753" cy="5072030"/>
          </a:xfrm>
          <a:prstGeom prst="rect">
            <a:avLst/>
          </a:prstGeom>
          <a:noFill/>
        </p:spPr>
        <p:txBody>
          <a:bodyPr wrap="square">
            <a:spAutoFit/>
          </a:bodyPr>
          <a:lstStyle/>
          <a:p>
            <a:pPr algn="l">
              <a:lnSpc>
                <a:spcPts val="2240"/>
              </a:lnSpc>
            </a:pPr>
            <a:r>
              <a:rPr lang="en-US" sz="1600" b="1" i="0" dirty="0">
                <a:solidFill>
                  <a:srgbClr val="444444"/>
                </a:solidFill>
                <a:effectLst/>
              </a:rPr>
              <a:t>Ομάδα διαχείρισης κρίσεων:</a:t>
            </a:r>
          </a:p>
          <a:p>
            <a:pPr algn="l">
              <a:lnSpc>
                <a:spcPts val="2240"/>
              </a:lnSpc>
            </a:pPr>
            <a:endParaRPr lang="en-US" sz="1600" b="0" i="0" dirty="0">
              <a:solidFill>
                <a:srgbClr val="444444"/>
              </a:solidFill>
              <a:effectLst/>
            </a:endParaRP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Ανιχνεύει τα πρώιμα σημάδια κρίσης.</a:t>
            </a: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 Προσδιορίζει τις προβληματικές περιοχές</a:t>
            </a: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 Συναντά τους εργαζόμενους πρόσωπο με πρόσωπο και συζητά τους εντοπισμένους προβληματικούς τομείς</a:t>
            </a: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Προετοιμάζει σχέδιο διαχείρισης κρίσεων που λειτουργεί καλύτερα κατά τη διάρκεια καταστάσεων έκτακτης ανάγκης</a:t>
            </a: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 Ενθαρρύνει τους εργαζόμενους να αντιμετωπίζουν τα προβλήματα με θάρρος, αποφασιστικότητα και χαμόγελο, τους παρακινεί να μην χάνουν την ελπίδα και να δίνουν τον καλύτερο εαυτό τους.</a:t>
            </a:r>
          </a:p>
          <a:p>
            <a:pPr marL="342900" indent="-342900" algn="l">
              <a:lnSpc>
                <a:spcPts val="2240"/>
              </a:lnSpc>
              <a:spcAft>
                <a:spcPts val="600"/>
              </a:spcAft>
              <a:buClr>
                <a:srgbClr val="F16924"/>
              </a:buClr>
              <a:buFont typeface="Arial" panose="020B0604020202020204" pitchFamily="34" charset="0"/>
              <a:buChar char="•"/>
            </a:pPr>
            <a:r>
              <a:rPr lang="en-US" sz="1600" b="0" i="0" dirty="0">
                <a:solidFill>
                  <a:srgbClr val="444444"/>
                </a:solidFill>
                <a:effectLst/>
              </a:rPr>
              <a:t>- Βοηθά τον </a:t>
            </a:r>
            <a:r>
              <a:rPr lang="en-US" sz="1600" b="0" i="0" dirty="0" err="1">
                <a:solidFill>
                  <a:srgbClr val="444444"/>
                </a:solidFill>
                <a:effectLst/>
              </a:rPr>
              <a:t>οργανισμό να βγει από </a:t>
            </a:r>
            <a:r>
              <a:rPr lang="en-US" sz="1600" b="0" i="0" dirty="0">
                <a:solidFill>
                  <a:srgbClr val="444444"/>
                </a:solidFill>
                <a:effectLst/>
              </a:rPr>
              <a:t>δύσκολες στιγμές και τον προετοιμάζει επίσης για το μέλλον.</a:t>
            </a:r>
          </a:p>
          <a:p>
            <a:pPr algn="l">
              <a:lnSpc>
                <a:spcPts val="2240"/>
              </a:lnSpc>
            </a:pPr>
            <a:endParaRPr lang="en-US" sz="1600" dirty="0">
              <a:solidFill>
                <a:srgbClr val="444444"/>
              </a:solidFill>
            </a:endParaRPr>
          </a:p>
          <a:p>
            <a:pPr algn="l">
              <a:lnSpc>
                <a:spcPts val="2240"/>
              </a:lnSpc>
            </a:pPr>
            <a:endParaRPr lang="en-US" sz="2200" b="0" i="0" dirty="0">
              <a:solidFill>
                <a:srgbClr val="444444"/>
              </a:solidFill>
              <a:effectLst/>
            </a:endParaRPr>
          </a:p>
        </p:txBody>
      </p:sp>
      <p:sp>
        <p:nvSpPr>
          <p:cNvPr id="8" name="Rectangle 7">
            <a:extLst>
              <a:ext uri="{FF2B5EF4-FFF2-40B4-BE49-F238E27FC236}">
                <a16:creationId xmlns:a16="http://schemas.microsoft.com/office/drawing/2014/main" id="{38EB2C2C-EC2B-99DA-B1FC-25CF62B7450F}"/>
              </a:ext>
            </a:extLst>
          </p:cNvPr>
          <p:cNvSpPr/>
          <p:nvPr/>
        </p:nvSpPr>
        <p:spPr>
          <a:xfrm>
            <a:off x="676972" y="118209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 name="TextBox 8">
            <a:extLst>
              <a:ext uri="{FF2B5EF4-FFF2-40B4-BE49-F238E27FC236}">
                <a16:creationId xmlns:a16="http://schemas.microsoft.com/office/drawing/2014/main" id="{7697028E-9B70-EFAE-BB10-4AFAB210D6ED}"/>
              </a:ext>
            </a:extLst>
          </p:cNvPr>
          <p:cNvSpPr txBox="1"/>
          <p:nvPr/>
        </p:nvSpPr>
        <p:spPr>
          <a:xfrm>
            <a:off x="6096000" y="5432920"/>
            <a:ext cx="6383867" cy="461665"/>
          </a:xfrm>
          <a:prstGeom prst="rect">
            <a:avLst/>
          </a:prstGeom>
          <a:noFill/>
        </p:spPr>
        <p:txBody>
          <a:bodyPr wrap="square" rtlCol="0">
            <a:spAutoFit/>
          </a:bodyPr>
          <a:lstStyle/>
          <a:p>
            <a:r>
              <a:rPr lang="en-US" sz="1200" b="1" dirty="0">
                <a:solidFill>
                  <a:srgbClr val="B41F7A"/>
                </a:solidFill>
              </a:rPr>
              <a:t>Πηγή: F24, 2021: </a:t>
            </a:r>
          </a:p>
          <a:p>
            <a:r>
              <a:rPr lang="en-US" sz="1200" dirty="0">
                <a:solidFill>
                  <a:srgbClr val="B41F7A"/>
                </a:solidFill>
                <a:hlinkClick r:id="rId2">
                  <a:extLst>
                    <a:ext uri="{A12FA001-AC4F-418D-AE19-62706E023703}">
                      <ahyp:hlinkClr xmlns:ahyp="http://schemas.microsoft.com/office/drawing/2018/hyperlinkcolor" val="tx"/>
                    </a:ext>
                  </a:extLst>
                </a:hlinkClick>
              </a:rPr>
              <a:t>https://f24.com/en/the-importance-of-teamwork-during-an-emergency-or-crisis/ </a:t>
            </a:r>
          </a:p>
        </p:txBody>
      </p:sp>
    </p:spTree>
    <p:extLst>
      <p:ext uri="{BB962C8B-B14F-4D97-AF65-F5344CB8AC3E}">
        <p14:creationId xmlns:p14="http://schemas.microsoft.com/office/powerpoint/2010/main" val="21629471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0"/>
            <a:ext cx="4572956"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bg1"/>
                </a:solidFill>
              </a:rPr>
              <a:t>7 πράγματα που κάνουν οι καλύτεροι ηγέτες σε περιόδους κρίσης</a:t>
            </a:r>
          </a:p>
        </p:txBody>
      </p:sp>
      <p:sp>
        <p:nvSpPr>
          <p:cNvPr id="2" name="Rectangle 1">
            <a:extLst>
              <a:ext uri="{FF2B5EF4-FFF2-40B4-BE49-F238E27FC236}">
                <a16:creationId xmlns:a16="http://schemas.microsoft.com/office/drawing/2014/main" id="{67D77CEC-A6B5-80B9-806C-9686FBF34ED7}"/>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29" name="Text Placeholder 2">
            <a:extLst>
              <a:ext uri="{FF2B5EF4-FFF2-40B4-BE49-F238E27FC236}">
                <a16:creationId xmlns:a16="http://schemas.microsoft.com/office/drawing/2014/main" id="{A7336234-5238-F893-40DD-6C8930BBAAA8}"/>
              </a:ext>
            </a:extLst>
          </p:cNvPr>
          <p:cNvSpPr txBox="1">
            <a:spLocks/>
          </p:cNvSpPr>
          <p:nvPr/>
        </p:nvSpPr>
        <p:spPr>
          <a:xfrm>
            <a:off x="448817" y="2658889"/>
            <a:ext cx="3918331" cy="121063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4288" indent="-14288"/>
            <a:r>
              <a:rPr lang="en-US" sz="1400" dirty="0"/>
              <a:t>Πηγή: h</a:t>
            </a:r>
            <a:r>
              <a:rPr lang="en-US" sz="1400" dirty="0">
                <a:hlinkClick r:id="rId3">
                  <a:extLst>
                    <a:ext uri="{A12FA001-AC4F-418D-AE19-62706E023703}">
                      <ahyp:hlinkClr xmlns:ahyp="http://schemas.microsoft.com/office/drawing/2018/hyperlinkcolor" val="tx"/>
                    </a:ext>
                  </a:extLst>
                </a:hlinkClick>
              </a:rPr>
              <a:t>ttps://trainingindustry.com/blog/leadership/7-things-the-best-leaders-do-in-times-of-crisis/</a:t>
            </a:r>
            <a:endParaRPr lang="en-US" sz="1400" dirty="0"/>
          </a:p>
          <a:p>
            <a:pPr marL="14288" indent="-14288"/>
            <a:endParaRPr lang="en-US" sz="1400" dirty="0"/>
          </a:p>
        </p:txBody>
      </p:sp>
      <p:grpSp>
        <p:nvGrpSpPr>
          <p:cNvPr id="20" name="Group 19">
            <a:extLst>
              <a:ext uri="{FF2B5EF4-FFF2-40B4-BE49-F238E27FC236}">
                <a16:creationId xmlns:a16="http://schemas.microsoft.com/office/drawing/2014/main" id="{97FB74A6-9C06-D10B-0832-74CEF3AE7848}"/>
              </a:ext>
            </a:extLst>
          </p:cNvPr>
          <p:cNvGrpSpPr/>
          <p:nvPr/>
        </p:nvGrpSpPr>
        <p:grpSpPr>
          <a:xfrm>
            <a:off x="4572957" y="525963"/>
            <a:ext cx="7983595" cy="5806071"/>
            <a:chOff x="3864504" y="430173"/>
            <a:chExt cx="7983595" cy="5806071"/>
          </a:xfrm>
        </p:grpSpPr>
        <p:cxnSp>
          <p:nvCxnSpPr>
            <p:cNvPr id="242" name="Straight Connector 241">
              <a:extLst>
                <a:ext uri="{FF2B5EF4-FFF2-40B4-BE49-F238E27FC236}">
                  <a16:creationId xmlns:a16="http://schemas.microsoft.com/office/drawing/2014/main" id="{5D42419B-38C9-FF97-1BB3-EAE256AEF850}"/>
                </a:ext>
              </a:extLst>
            </p:cNvPr>
            <p:cNvCxnSpPr>
              <a:cxnSpLocks/>
            </p:cNvCxnSpPr>
            <p:nvPr/>
          </p:nvCxnSpPr>
          <p:spPr>
            <a:xfrm flipV="1">
              <a:off x="5793368" y="2448392"/>
              <a:ext cx="716766" cy="25444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6850B946-6A3D-FDF6-641F-0232E35FB245}"/>
                </a:ext>
              </a:extLst>
            </p:cNvPr>
            <p:cNvCxnSpPr>
              <a:cxnSpLocks/>
            </p:cNvCxnSpPr>
            <p:nvPr/>
          </p:nvCxnSpPr>
          <p:spPr>
            <a:xfrm>
              <a:off x="5788477" y="3869528"/>
              <a:ext cx="821610" cy="343394"/>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4BAB812-B522-3461-4A4C-494B2217B69E}"/>
                </a:ext>
              </a:extLst>
            </p:cNvPr>
            <p:cNvCxnSpPr>
              <a:cxnSpLocks/>
            </p:cNvCxnSpPr>
            <p:nvPr/>
          </p:nvCxnSpPr>
          <p:spPr>
            <a:xfrm flipV="1">
              <a:off x="5078873" y="921439"/>
              <a:ext cx="297626" cy="659098"/>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FDD9F6B-4DF6-C77E-69F4-7B68C1A1E743}"/>
                </a:ext>
              </a:extLst>
            </p:cNvPr>
            <p:cNvCxnSpPr>
              <a:cxnSpLocks/>
            </p:cNvCxnSpPr>
            <p:nvPr/>
          </p:nvCxnSpPr>
          <p:spPr>
            <a:xfrm flipV="1">
              <a:off x="5596675" y="1657354"/>
              <a:ext cx="624913" cy="464003"/>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516B614-2FEC-A3CA-F325-3D8D4AE8CC95}"/>
                </a:ext>
              </a:extLst>
            </p:cNvPr>
            <p:cNvCxnSpPr>
              <a:cxnSpLocks/>
              <a:endCxn id="62" idx="1"/>
            </p:cNvCxnSpPr>
            <p:nvPr/>
          </p:nvCxnSpPr>
          <p:spPr>
            <a:xfrm>
              <a:off x="5909131" y="3325600"/>
              <a:ext cx="874265"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130BF5D-B69C-D4B3-3F7C-5D8CBF0406AD}"/>
                </a:ext>
              </a:extLst>
            </p:cNvPr>
            <p:cNvCxnSpPr>
              <a:cxnSpLocks/>
            </p:cNvCxnSpPr>
            <p:nvPr/>
          </p:nvCxnSpPr>
          <p:spPr>
            <a:xfrm>
              <a:off x="5510488" y="4390168"/>
              <a:ext cx="705824" cy="60017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6A90408-5CDC-A67E-BBCF-2685382AD867}"/>
                </a:ext>
              </a:extLst>
            </p:cNvPr>
            <p:cNvCxnSpPr>
              <a:cxnSpLocks/>
            </p:cNvCxnSpPr>
            <p:nvPr/>
          </p:nvCxnSpPr>
          <p:spPr>
            <a:xfrm>
              <a:off x="5120781" y="4949522"/>
              <a:ext cx="309088" cy="62635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9" name="Freeform 8">
              <a:extLst>
                <a:ext uri="{FF2B5EF4-FFF2-40B4-BE49-F238E27FC236}">
                  <a16:creationId xmlns:a16="http://schemas.microsoft.com/office/drawing/2014/main" id="{0C34D404-B7C4-5835-BBA0-BDF4A42340D6}"/>
                </a:ext>
              </a:extLst>
            </p:cNvPr>
            <p:cNvSpPr/>
            <p:nvPr/>
          </p:nvSpPr>
          <p:spPr>
            <a:xfrm>
              <a:off x="3864504" y="1285772"/>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1" name="Group 10">
              <a:extLst>
                <a:ext uri="{FF2B5EF4-FFF2-40B4-BE49-F238E27FC236}">
                  <a16:creationId xmlns:a16="http://schemas.microsoft.com/office/drawing/2014/main" id="{237DC7B7-87AD-5BDD-3B58-DDB8F07A8454}"/>
                </a:ext>
              </a:extLst>
            </p:cNvPr>
            <p:cNvGrpSpPr/>
            <p:nvPr/>
          </p:nvGrpSpPr>
          <p:grpSpPr>
            <a:xfrm>
              <a:off x="4896863" y="1524744"/>
              <a:ext cx="230346" cy="230551"/>
              <a:chOff x="1073516" y="1527833"/>
              <a:chExt cx="230346" cy="230551"/>
            </a:xfrm>
          </p:grpSpPr>
          <p:sp>
            <p:nvSpPr>
              <p:cNvPr id="52" name="Freeform 51">
                <a:extLst>
                  <a:ext uri="{FF2B5EF4-FFF2-40B4-BE49-F238E27FC236}">
                    <a16:creationId xmlns:a16="http://schemas.microsoft.com/office/drawing/2014/main" id="{33636165-DFB5-F569-08BF-8B016273D56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DA04CE63-B5CF-54B5-07AC-DAB4F35C7E9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50" name="Freeform 49">
              <a:extLst>
                <a:ext uri="{FF2B5EF4-FFF2-40B4-BE49-F238E27FC236}">
                  <a16:creationId xmlns:a16="http://schemas.microsoft.com/office/drawing/2014/main" id="{6192E524-49F3-17DC-B214-680AA7E493E4}"/>
                </a:ext>
              </a:extLst>
            </p:cNvPr>
            <p:cNvSpPr/>
            <p:nvPr/>
          </p:nvSpPr>
          <p:spPr>
            <a:xfrm>
              <a:off x="5383497" y="2032692"/>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EBB4964-8117-B6DD-5D11-9BF3A7FAA686}"/>
                </a:ext>
              </a:extLst>
            </p:cNvPr>
            <p:cNvSpPr/>
            <p:nvPr/>
          </p:nvSpPr>
          <p:spPr>
            <a:xfrm>
              <a:off x="5431591" y="2080829"/>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nvGrpSpPr>
            <p:cNvPr id="13" name="Group 12">
              <a:extLst>
                <a:ext uri="{FF2B5EF4-FFF2-40B4-BE49-F238E27FC236}">
                  <a16:creationId xmlns:a16="http://schemas.microsoft.com/office/drawing/2014/main" id="{0EE81F01-E06D-29E5-BA17-E772968EAC1B}"/>
                </a:ext>
              </a:extLst>
            </p:cNvPr>
            <p:cNvGrpSpPr/>
            <p:nvPr/>
          </p:nvGrpSpPr>
          <p:grpSpPr>
            <a:xfrm>
              <a:off x="5757393" y="3200965"/>
              <a:ext cx="230346" cy="230551"/>
              <a:chOff x="1073516" y="1527833"/>
              <a:chExt cx="230346" cy="230551"/>
            </a:xfrm>
          </p:grpSpPr>
          <p:sp>
            <p:nvSpPr>
              <p:cNvPr id="48" name="Freeform 47">
                <a:extLst>
                  <a:ext uri="{FF2B5EF4-FFF2-40B4-BE49-F238E27FC236}">
                    <a16:creationId xmlns:a16="http://schemas.microsoft.com/office/drawing/2014/main" id="{2FA6533C-7A98-231A-511D-8A276C0B60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B4FEA326-E6D8-C3A5-7657-C6FE750C01F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4902CA2-0772-9224-24FC-90B076827099}"/>
                </a:ext>
              </a:extLst>
            </p:cNvPr>
            <p:cNvGrpSpPr/>
            <p:nvPr/>
          </p:nvGrpSpPr>
          <p:grpSpPr>
            <a:xfrm>
              <a:off x="4949215" y="4747228"/>
              <a:ext cx="230346" cy="230551"/>
              <a:chOff x="1073516" y="1527833"/>
              <a:chExt cx="230346" cy="230551"/>
            </a:xfrm>
          </p:grpSpPr>
          <p:sp>
            <p:nvSpPr>
              <p:cNvPr id="46" name="Freeform 45">
                <a:extLst>
                  <a:ext uri="{FF2B5EF4-FFF2-40B4-BE49-F238E27FC236}">
                    <a16:creationId xmlns:a16="http://schemas.microsoft.com/office/drawing/2014/main" id="{EFAEDAFE-6687-894C-37C4-77C5BED1A10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7" name="Freeform 46">
                <a:extLst>
                  <a:ext uri="{FF2B5EF4-FFF2-40B4-BE49-F238E27FC236}">
                    <a16:creationId xmlns:a16="http://schemas.microsoft.com/office/drawing/2014/main" id="{50FC10D2-4DBB-88C2-EF10-EB977063F63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5" name="Group 14">
              <a:extLst>
                <a:ext uri="{FF2B5EF4-FFF2-40B4-BE49-F238E27FC236}">
                  <a16:creationId xmlns:a16="http://schemas.microsoft.com/office/drawing/2014/main" id="{EF964300-DAF6-80BE-D63B-1DC35DF220EF}"/>
                </a:ext>
              </a:extLst>
            </p:cNvPr>
            <p:cNvGrpSpPr/>
            <p:nvPr/>
          </p:nvGrpSpPr>
          <p:grpSpPr>
            <a:xfrm>
              <a:off x="5405221" y="4297178"/>
              <a:ext cx="230346" cy="230551"/>
              <a:chOff x="1073516" y="1527833"/>
              <a:chExt cx="230346" cy="230551"/>
            </a:xfrm>
          </p:grpSpPr>
          <p:sp>
            <p:nvSpPr>
              <p:cNvPr id="44" name="Freeform 43">
                <a:extLst>
                  <a:ext uri="{FF2B5EF4-FFF2-40B4-BE49-F238E27FC236}">
                    <a16:creationId xmlns:a16="http://schemas.microsoft.com/office/drawing/2014/main" id="{D4D412EB-A9A6-77D8-AC7D-DF625C895AA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5" name="Freeform 44">
                <a:extLst>
                  <a:ext uri="{FF2B5EF4-FFF2-40B4-BE49-F238E27FC236}">
                    <a16:creationId xmlns:a16="http://schemas.microsoft.com/office/drawing/2014/main" id="{8A59F832-D100-FB62-7275-4A26936737A9}"/>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321BF6F3-8A9C-898A-8A52-50B1306BB7FA}"/>
                </a:ext>
              </a:extLst>
            </p:cNvPr>
            <p:cNvGrpSpPr/>
            <p:nvPr/>
          </p:nvGrpSpPr>
          <p:grpSpPr>
            <a:xfrm>
              <a:off x="5078873" y="430173"/>
              <a:ext cx="4934696" cy="712320"/>
              <a:chOff x="1416598" y="919839"/>
              <a:chExt cx="4934696" cy="712320"/>
            </a:xfrm>
          </p:grpSpPr>
          <p:sp>
            <p:nvSpPr>
              <p:cNvPr id="196" name="Rounded Rectangle 195">
                <a:extLst>
                  <a:ext uri="{FF2B5EF4-FFF2-40B4-BE49-F238E27FC236}">
                    <a16:creationId xmlns:a16="http://schemas.microsoft.com/office/drawing/2014/main" id="{36CA3738-B7DD-A7C5-A01B-24040B52F966}"/>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TextBox 49">
                <a:extLst>
                  <a:ext uri="{FF2B5EF4-FFF2-40B4-BE49-F238E27FC236}">
                    <a16:creationId xmlns:a16="http://schemas.microsoft.com/office/drawing/2014/main" id="{5D99419C-0210-C879-2517-1BC6E9ED54D6}"/>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Δώστε μια σαφή κατεύθυνση</a:t>
                </a:r>
              </a:p>
            </p:txBody>
          </p:sp>
          <p:grpSp>
            <p:nvGrpSpPr>
              <p:cNvPr id="198" name="Graphic 8">
                <a:extLst>
                  <a:ext uri="{FF2B5EF4-FFF2-40B4-BE49-F238E27FC236}">
                    <a16:creationId xmlns:a16="http://schemas.microsoft.com/office/drawing/2014/main" id="{A99B5BF8-1926-C55E-B2D4-CFDF628005D9}"/>
                  </a:ext>
                </a:extLst>
              </p:cNvPr>
              <p:cNvGrpSpPr/>
              <p:nvPr/>
            </p:nvGrpSpPr>
            <p:grpSpPr>
              <a:xfrm>
                <a:off x="1416598" y="919839"/>
                <a:ext cx="701992" cy="701724"/>
                <a:chOff x="4817897" y="694433"/>
                <a:chExt cx="1446392" cy="1445841"/>
              </a:xfrm>
            </p:grpSpPr>
            <p:sp>
              <p:nvSpPr>
                <p:cNvPr id="200" name="Freeform 199">
                  <a:extLst>
                    <a:ext uri="{FF2B5EF4-FFF2-40B4-BE49-F238E27FC236}">
                      <a16:creationId xmlns:a16="http://schemas.microsoft.com/office/drawing/2014/main" id="{AA6FF4E1-984F-DF58-BB68-61EAE84344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1" name="Freeform 200">
                  <a:extLst>
                    <a:ext uri="{FF2B5EF4-FFF2-40B4-BE49-F238E27FC236}">
                      <a16:creationId xmlns:a16="http://schemas.microsoft.com/office/drawing/2014/main" id="{318BCA59-E276-F06F-5B78-E79564E7F5C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99" name="TextBox 198">
                <a:extLst>
                  <a:ext uri="{FF2B5EF4-FFF2-40B4-BE49-F238E27FC236}">
                    <a16:creationId xmlns:a16="http://schemas.microsoft.com/office/drawing/2014/main" id="{7A3B81BF-BC0E-1D84-F82A-747DBD71BCA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8" name="Group 7">
              <a:extLst>
                <a:ext uri="{FF2B5EF4-FFF2-40B4-BE49-F238E27FC236}">
                  <a16:creationId xmlns:a16="http://schemas.microsoft.com/office/drawing/2014/main" id="{12F5E59B-85E2-6F54-A0B5-A94A7551CED1}"/>
                </a:ext>
              </a:extLst>
            </p:cNvPr>
            <p:cNvGrpSpPr/>
            <p:nvPr/>
          </p:nvGrpSpPr>
          <p:grpSpPr>
            <a:xfrm>
              <a:off x="5860555" y="1279131"/>
              <a:ext cx="4934696" cy="712320"/>
              <a:chOff x="1416598" y="919839"/>
              <a:chExt cx="4934696" cy="712320"/>
            </a:xfrm>
          </p:grpSpPr>
          <p:sp>
            <p:nvSpPr>
              <p:cNvPr id="10" name="Rounded Rectangle 9">
                <a:extLst>
                  <a:ext uri="{FF2B5EF4-FFF2-40B4-BE49-F238E27FC236}">
                    <a16:creationId xmlns:a16="http://schemas.microsoft.com/office/drawing/2014/main" id="{C9868929-A9C8-6CC2-5FB8-EC98C8EE91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49">
                <a:extLst>
                  <a:ext uri="{FF2B5EF4-FFF2-40B4-BE49-F238E27FC236}">
                    <a16:creationId xmlns:a16="http://schemas.microsoft.com/office/drawing/2014/main" id="{9546C228-6899-94C9-1820-443B0DB162A7}"/>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Εστίαση στους ανθρώπους</a:t>
                </a:r>
              </a:p>
            </p:txBody>
          </p:sp>
          <p:grpSp>
            <p:nvGrpSpPr>
              <p:cNvPr id="17" name="Graphic 8">
                <a:extLst>
                  <a:ext uri="{FF2B5EF4-FFF2-40B4-BE49-F238E27FC236}">
                    <a16:creationId xmlns:a16="http://schemas.microsoft.com/office/drawing/2014/main" id="{1140E144-5EBE-60D2-547F-43DF4A3F5D2E}"/>
                  </a:ext>
                </a:extLst>
              </p:cNvPr>
              <p:cNvGrpSpPr/>
              <p:nvPr/>
            </p:nvGrpSpPr>
            <p:grpSpPr>
              <a:xfrm>
                <a:off x="1416598" y="919839"/>
                <a:ext cx="701992" cy="701724"/>
                <a:chOff x="4817897" y="694433"/>
                <a:chExt cx="1446392" cy="1445841"/>
              </a:xfrm>
            </p:grpSpPr>
            <p:sp>
              <p:nvSpPr>
                <p:cNvPr id="33" name="Freeform 32">
                  <a:extLst>
                    <a:ext uri="{FF2B5EF4-FFF2-40B4-BE49-F238E27FC236}">
                      <a16:creationId xmlns:a16="http://schemas.microsoft.com/office/drawing/2014/main" id="{3854300A-1A5E-FC0C-C62C-75B5B0E473F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4" name="Freeform 33">
                  <a:extLst>
                    <a:ext uri="{FF2B5EF4-FFF2-40B4-BE49-F238E27FC236}">
                      <a16:creationId xmlns:a16="http://schemas.microsoft.com/office/drawing/2014/main" id="{6440DD07-9EEE-BAA9-FDD0-110923277C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 name="TextBox 31">
                <a:extLst>
                  <a:ext uri="{FF2B5EF4-FFF2-40B4-BE49-F238E27FC236}">
                    <a16:creationId xmlns:a16="http://schemas.microsoft.com/office/drawing/2014/main" id="{1E3BDCF5-939C-269D-227F-B7427CC84C0E}"/>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35" name="Group 34">
              <a:extLst>
                <a:ext uri="{FF2B5EF4-FFF2-40B4-BE49-F238E27FC236}">
                  <a16:creationId xmlns:a16="http://schemas.microsoft.com/office/drawing/2014/main" id="{1D2A611C-76F8-C6E7-DE5A-899E906D1EA5}"/>
                </a:ext>
              </a:extLst>
            </p:cNvPr>
            <p:cNvGrpSpPr/>
            <p:nvPr/>
          </p:nvGrpSpPr>
          <p:grpSpPr>
            <a:xfrm>
              <a:off x="6284353" y="2128089"/>
              <a:ext cx="4934696" cy="712320"/>
              <a:chOff x="1416598" y="919839"/>
              <a:chExt cx="4934696" cy="712320"/>
            </a:xfrm>
          </p:grpSpPr>
          <p:sp>
            <p:nvSpPr>
              <p:cNvPr id="36" name="Rounded Rectangle 35">
                <a:extLst>
                  <a:ext uri="{FF2B5EF4-FFF2-40B4-BE49-F238E27FC236}">
                    <a16:creationId xmlns:a16="http://schemas.microsoft.com/office/drawing/2014/main" id="{64B89EDC-F931-71B6-97B6-133F54A0A539}"/>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49">
                <a:extLst>
                  <a:ext uri="{FF2B5EF4-FFF2-40B4-BE49-F238E27FC236}">
                    <a16:creationId xmlns:a16="http://schemas.microsoft.com/office/drawing/2014/main" id="{6501B9AD-73B3-BF21-8CC1-4C362200D033}"/>
                  </a:ext>
                </a:extLst>
              </p:cNvPr>
              <p:cNvSpPr txBox="1"/>
              <p:nvPr/>
            </p:nvSpPr>
            <p:spPr>
              <a:xfrm>
                <a:off x="2178413" y="1131063"/>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Βρείτε έναν προπονητή</a:t>
                </a:r>
              </a:p>
            </p:txBody>
          </p:sp>
          <p:grpSp>
            <p:nvGrpSpPr>
              <p:cNvPr id="54" name="Graphic 8">
                <a:extLst>
                  <a:ext uri="{FF2B5EF4-FFF2-40B4-BE49-F238E27FC236}">
                    <a16:creationId xmlns:a16="http://schemas.microsoft.com/office/drawing/2014/main" id="{D0A2EFCA-A71C-DB07-3479-0A5605FD1DDE}"/>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AE4FD722-B95C-938E-7AA0-43D6B1D84D9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FEE88A97-9313-87B9-AE50-49D81D391D6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EE4BAFB6-4450-CE4E-906A-8CD622AADE8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58" name="Group 57">
              <a:extLst>
                <a:ext uri="{FF2B5EF4-FFF2-40B4-BE49-F238E27FC236}">
                  <a16:creationId xmlns:a16="http://schemas.microsoft.com/office/drawing/2014/main" id="{3647FB4B-11B2-FA8B-98F8-31A7FD2ED232}"/>
                </a:ext>
              </a:extLst>
            </p:cNvPr>
            <p:cNvGrpSpPr/>
            <p:nvPr/>
          </p:nvGrpSpPr>
          <p:grpSpPr>
            <a:xfrm>
              <a:off x="6694757" y="2977047"/>
              <a:ext cx="5153342" cy="712320"/>
              <a:chOff x="1416598" y="919839"/>
              <a:chExt cx="5153342" cy="712320"/>
            </a:xfrm>
          </p:grpSpPr>
          <p:sp>
            <p:nvSpPr>
              <p:cNvPr id="59" name="Rounded Rectangle 58">
                <a:extLst>
                  <a:ext uri="{FF2B5EF4-FFF2-40B4-BE49-F238E27FC236}">
                    <a16:creationId xmlns:a16="http://schemas.microsoft.com/office/drawing/2014/main" id="{4B1E85AD-D707-D4EE-348C-A9FD4C441D0F}"/>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49">
                <a:extLst>
                  <a:ext uri="{FF2B5EF4-FFF2-40B4-BE49-F238E27FC236}">
                    <a16:creationId xmlns:a16="http://schemas.microsoft.com/office/drawing/2014/main" id="{AB542332-AF2B-CFF4-861B-588F894A92AC}"/>
                  </a:ext>
                </a:extLst>
              </p:cNvPr>
              <p:cNvSpPr txBox="1"/>
              <p:nvPr/>
            </p:nvSpPr>
            <p:spPr>
              <a:xfrm>
                <a:off x="2178413" y="1131061"/>
                <a:ext cx="4391527"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Να είστε διαφανείς</a:t>
                </a:r>
              </a:p>
            </p:txBody>
          </p:sp>
          <p:grpSp>
            <p:nvGrpSpPr>
              <p:cNvPr id="61" name="Graphic 8">
                <a:extLst>
                  <a:ext uri="{FF2B5EF4-FFF2-40B4-BE49-F238E27FC236}">
                    <a16:creationId xmlns:a16="http://schemas.microsoft.com/office/drawing/2014/main" id="{28339DF6-5642-6B3D-47B1-9EDFD2A25545}"/>
                  </a:ext>
                </a:extLst>
              </p:cNvPr>
              <p:cNvGrpSpPr/>
              <p:nvPr/>
            </p:nvGrpSpPr>
            <p:grpSpPr>
              <a:xfrm>
                <a:off x="1416598" y="919839"/>
                <a:ext cx="701992" cy="701724"/>
                <a:chOff x="4817897" y="694433"/>
                <a:chExt cx="1446392" cy="1445841"/>
              </a:xfrm>
            </p:grpSpPr>
            <p:sp>
              <p:nvSpPr>
                <p:cNvPr id="63" name="Freeform 62">
                  <a:extLst>
                    <a:ext uri="{FF2B5EF4-FFF2-40B4-BE49-F238E27FC236}">
                      <a16:creationId xmlns:a16="http://schemas.microsoft.com/office/drawing/2014/main" id="{B5303BD2-3C19-E7F6-EA76-AB08F9D2CD3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92" name="Freeform 191">
                  <a:extLst>
                    <a:ext uri="{FF2B5EF4-FFF2-40B4-BE49-F238E27FC236}">
                      <a16:creationId xmlns:a16="http://schemas.microsoft.com/office/drawing/2014/main" id="{6AA04615-373D-5DEF-DFDF-FD18A974245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2" name="TextBox 61">
                <a:extLst>
                  <a:ext uri="{FF2B5EF4-FFF2-40B4-BE49-F238E27FC236}">
                    <a16:creationId xmlns:a16="http://schemas.microsoft.com/office/drawing/2014/main" id="{403C415A-45A2-104E-D28D-16C04FF448C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93" name="Group 192">
              <a:extLst>
                <a:ext uri="{FF2B5EF4-FFF2-40B4-BE49-F238E27FC236}">
                  <a16:creationId xmlns:a16="http://schemas.microsoft.com/office/drawing/2014/main" id="{FF021776-7E31-BC16-3ADF-48B57EC72A7C}"/>
                </a:ext>
              </a:extLst>
            </p:cNvPr>
            <p:cNvGrpSpPr/>
            <p:nvPr/>
          </p:nvGrpSpPr>
          <p:grpSpPr>
            <a:xfrm>
              <a:off x="5860555" y="4674963"/>
              <a:ext cx="4934696" cy="712320"/>
              <a:chOff x="1416598" y="919839"/>
              <a:chExt cx="4934696" cy="712320"/>
            </a:xfrm>
          </p:grpSpPr>
          <p:sp>
            <p:nvSpPr>
              <p:cNvPr id="194" name="Rounded Rectangle 193">
                <a:extLst>
                  <a:ext uri="{FF2B5EF4-FFF2-40B4-BE49-F238E27FC236}">
                    <a16:creationId xmlns:a16="http://schemas.microsoft.com/office/drawing/2014/main" id="{0E053648-ED64-FE77-6656-2F3D658AAC4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2" name="TextBox 49">
                <a:extLst>
                  <a:ext uri="{FF2B5EF4-FFF2-40B4-BE49-F238E27FC236}">
                    <a16:creationId xmlns:a16="http://schemas.microsoft.com/office/drawing/2014/main" id="{4AE670C9-AF1F-2473-A91B-3996AB6723AF}"/>
                  </a:ext>
                </a:extLst>
              </p:cNvPr>
              <p:cNvSpPr txBox="1"/>
              <p:nvPr/>
            </p:nvSpPr>
            <p:spPr>
              <a:xfrm>
                <a:off x="2178413" y="1131062"/>
                <a:ext cx="4172881"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Φροντίδα για την ομάδα τους</a:t>
                </a:r>
              </a:p>
            </p:txBody>
          </p:sp>
          <p:grpSp>
            <p:nvGrpSpPr>
              <p:cNvPr id="203" name="Graphic 8">
                <a:extLst>
                  <a:ext uri="{FF2B5EF4-FFF2-40B4-BE49-F238E27FC236}">
                    <a16:creationId xmlns:a16="http://schemas.microsoft.com/office/drawing/2014/main" id="{03DEDB80-C4A2-4705-225C-4393293337E4}"/>
                  </a:ext>
                </a:extLst>
              </p:cNvPr>
              <p:cNvGrpSpPr/>
              <p:nvPr/>
            </p:nvGrpSpPr>
            <p:grpSpPr>
              <a:xfrm>
                <a:off x="1416598" y="919839"/>
                <a:ext cx="701992" cy="701724"/>
                <a:chOff x="4817897" y="694433"/>
                <a:chExt cx="1446392" cy="1445841"/>
              </a:xfrm>
            </p:grpSpPr>
            <p:sp>
              <p:nvSpPr>
                <p:cNvPr id="205" name="Freeform 204">
                  <a:extLst>
                    <a:ext uri="{FF2B5EF4-FFF2-40B4-BE49-F238E27FC236}">
                      <a16:creationId xmlns:a16="http://schemas.microsoft.com/office/drawing/2014/main" id="{B75F68FF-5410-E05B-409C-DA7532A391D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06" name="Freeform 205">
                  <a:extLst>
                    <a:ext uri="{FF2B5EF4-FFF2-40B4-BE49-F238E27FC236}">
                      <a16:creationId xmlns:a16="http://schemas.microsoft.com/office/drawing/2014/main" id="{05B2650E-98B2-247E-7B23-50D936DEF2D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04" name="TextBox 203">
                <a:extLst>
                  <a:ext uri="{FF2B5EF4-FFF2-40B4-BE49-F238E27FC236}">
                    <a16:creationId xmlns:a16="http://schemas.microsoft.com/office/drawing/2014/main" id="{A37E2B73-9F3F-DFE7-FFF3-9D88089298D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nvGrpSpPr>
            <p:cNvPr id="207" name="Group 206">
              <a:extLst>
                <a:ext uri="{FF2B5EF4-FFF2-40B4-BE49-F238E27FC236}">
                  <a16:creationId xmlns:a16="http://schemas.microsoft.com/office/drawing/2014/main" id="{925322E9-2E6D-CB38-0D40-99B1F490E6BE}"/>
                </a:ext>
              </a:extLst>
            </p:cNvPr>
            <p:cNvGrpSpPr/>
            <p:nvPr/>
          </p:nvGrpSpPr>
          <p:grpSpPr>
            <a:xfrm>
              <a:off x="6284353" y="3826005"/>
              <a:ext cx="4510898" cy="712320"/>
              <a:chOff x="1416598" y="919839"/>
              <a:chExt cx="4510898" cy="712320"/>
            </a:xfrm>
          </p:grpSpPr>
          <p:sp>
            <p:nvSpPr>
              <p:cNvPr id="208" name="Rounded Rectangle 207">
                <a:extLst>
                  <a:ext uri="{FF2B5EF4-FFF2-40B4-BE49-F238E27FC236}">
                    <a16:creationId xmlns:a16="http://schemas.microsoft.com/office/drawing/2014/main" id="{AF8ECEE2-DD69-100C-9EAA-AC41986C5567}"/>
                  </a:ext>
                </a:extLst>
              </p:cNvPr>
              <p:cNvSpPr/>
              <p:nvPr/>
            </p:nvSpPr>
            <p:spPr>
              <a:xfrm>
                <a:off x="1517286"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49">
                <a:extLst>
                  <a:ext uri="{FF2B5EF4-FFF2-40B4-BE49-F238E27FC236}">
                    <a16:creationId xmlns:a16="http://schemas.microsoft.com/office/drawing/2014/main" id="{88EF7C0C-2860-FDDC-7C45-6C444FCFC494}"/>
                  </a:ext>
                </a:extLst>
              </p:cNvPr>
              <p:cNvSpPr txBox="1"/>
              <p:nvPr/>
            </p:nvSpPr>
            <p:spPr>
              <a:xfrm>
                <a:off x="2178413" y="1131062"/>
                <a:ext cx="3749083"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Ανάπτυξη της αυτο-ηγεσίας</a:t>
                </a:r>
              </a:p>
            </p:txBody>
          </p:sp>
          <p:grpSp>
            <p:nvGrpSpPr>
              <p:cNvPr id="216" name="Graphic 8">
                <a:extLst>
                  <a:ext uri="{FF2B5EF4-FFF2-40B4-BE49-F238E27FC236}">
                    <a16:creationId xmlns:a16="http://schemas.microsoft.com/office/drawing/2014/main" id="{CE05CE42-718E-D233-4C48-871AB1954A6F}"/>
                  </a:ext>
                </a:extLst>
              </p:cNvPr>
              <p:cNvGrpSpPr/>
              <p:nvPr/>
            </p:nvGrpSpPr>
            <p:grpSpPr>
              <a:xfrm>
                <a:off x="1416598" y="919839"/>
                <a:ext cx="701992" cy="701724"/>
                <a:chOff x="4817897" y="694433"/>
                <a:chExt cx="1446392" cy="1445841"/>
              </a:xfrm>
            </p:grpSpPr>
            <p:sp>
              <p:nvSpPr>
                <p:cNvPr id="220" name="Freeform 219">
                  <a:extLst>
                    <a:ext uri="{FF2B5EF4-FFF2-40B4-BE49-F238E27FC236}">
                      <a16:creationId xmlns:a16="http://schemas.microsoft.com/office/drawing/2014/main" id="{51A0662C-30DC-6C70-360F-FC1A1C7AA8C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1" name="Freeform 220">
                  <a:extLst>
                    <a:ext uri="{FF2B5EF4-FFF2-40B4-BE49-F238E27FC236}">
                      <a16:creationId xmlns:a16="http://schemas.microsoft.com/office/drawing/2014/main" id="{DB2E2E09-9029-86B5-EADA-F92A344E9D2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7" name="TextBox 216">
                <a:extLst>
                  <a:ext uri="{FF2B5EF4-FFF2-40B4-BE49-F238E27FC236}">
                    <a16:creationId xmlns:a16="http://schemas.microsoft.com/office/drawing/2014/main" id="{5469DD9B-90CC-5DDD-9422-D0474812F660}"/>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222" name="Group 221">
              <a:extLst>
                <a:ext uri="{FF2B5EF4-FFF2-40B4-BE49-F238E27FC236}">
                  <a16:creationId xmlns:a16="http://schemas.microsoft.com/office/drawing/2014/main" id="{6BB9BA09-6221-D34C-DC21-C56A7472B5C6}"/>
                </a:ext>
              </a:extLst>
            </p:cNvPr>
            <p:cNvGrpSpPr/>
            <p:nvPr/>
          </p:nvGrpSpPr>
          <p:grpSpPr>
            <a:xfrm>
              <a:off x="5078873" y="5523924"/>
              <a:ext cx="4674956" cy="712320"/>
              <a:chOff x="1416598" y="919839"/>
              <a:chExt cx="4674956" cy="712320"/>
            </a:xfrm>
          </p:grpSpPr>
          <p:sp>
            <p:nvSpPr>
              <p:cNvPr id="223" name="Rounded Rectangle 222">
                <a:extLst>
                  <a:ext uri="{FF2B5EF4-FFF2-40B4-BE49-F238E27FC236}">
                    <a16:creationId xmlns:a16="http://schemas.microsoft.com/office/drawing/2014/main" id="{EA90B2F7-3B03-E272-D2A0-69AA27D3779F}"/>
                  </a:ext>
                </a:extLst>
              </p:cNvPr>
              <p:cNvSpPr/>
              <p:nvPr/>
            </p:nvSpPr>
            <p:spPr>
              <a:xfrm>
                <a:off x="1517285" y="930435"/>
                <a:ext cx="3600000" cy="701724"/>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TextBox 49">
                <a:extLst>
                  <a:ext uri="{FF2B5EF4-FFF2-40B4-BE49-F238E27FC236}">
                    <a16:creationId xmlns:a16="http://schemas.microsoft.com/office/drawing/2014/main" id="{C3AE97F6-390D-8FA2-5906-D8789F614B61}"/>
                  </a:ext>
                </a:extLst>
              </p:cNvPr>
              <p:cNvSpPr txBox="1"/>
              <p:nvPr/>
            </p:nvSpPr>
            <p:spPr>
              <a:xfrm>
                <a:off x="2178414" y="1131062"/>
                <a:ext cx="3913140" cy="333168"/>
              </a:xfrm>
              <a:prstGeom prst="rect">
                <a:avLst/>
              </a:prstGeom>
              <a:noFill/>
            </p:spPr>
            <p:txBody>
              <a:bodyPr wrap="square" numCol="1" rtlCol="0" anchor="ctr">
                <a:spAutoFit/>
              </a:bodyPr>
              <a:lstStyle/>
              <a:p>
                <a:pPr>
                  <a:lnSpc>
                    <a:spcPts val="1800"/>
                  </a:lnSpc>
                  <a:defRPr/>
                </a:pPr>
                <a:r>
                  <a:rPr lang="en-GB" sz="2000" dirty="0">
                    <a:solidFill>
                      <a:schemeClr val="bg1"/>
                    </a:solidFill>
                    <a:ea typeface="Lato Light" panose="020F0502020204030203" pitchFamily="34" charset="0"/>
                    <a:cs typeface="Poppins" pitchFamily="2" charset="77"/>
                  </a:rPr>
                  <a:t>Μάθετε να γίνεστε πραγματικός ηγέτης</a:t>
                </a:r>
              </a:p>
            </p:txBody>
          </p:sp>
          <p:grpSp>
            <p:nvGrpSpPr>
              <p:cNvPr id="225" name="Graphic 8">
                <a:extLst>
                  <a:ext uri="{FF2B5EF4-FFF2-40B4-BE49-F238E27FC236}">
                    <a16:creationId xmlns:a16="http://schemas.microsoft.com/office/drawing/2014/main" id="{6AF7DF20-2605-8D13-266B-0CA3FA0B9D35}"/>
                  </a:ext>
                </a:extLst>
              </p:cNvPr>
              <p:cNvGrpSpPr/>
              <p:nvPr/>
            </p:nvGrpSpPr>
            <p:grpSpPr>
              <a:xfrm>
                <a:off x="1416598" y="919839"/>
                <a:ext cx="701992" cy="701724"/>
                <a:chOff x="4817897" y="694433"/>
                <a:chExt cx="1446392" cy="1445841"/>
              </a:xfrm>
            </p:grpSpPr>
            <p:sp>
              <p:nvSpPr>
                <p:cNvPr id="227" name="Freeform 226">
                  <a:extLst>
                    <a:ext uri="{FF2B5EF4-FFF2-40B4-BE49-F238E27FC236}">
                      <a16:creationId xmlns:a16="http://schemas.microsoft.com/office/drawing/2014/main" id="{99A32D5E-1B94-1357-C967-E118488C0C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28" name="Freeform 227">
                  <a:extLst>
                    <a:ext uri="{FF2B5EF4-FFF2-40B4-BE49-F238E27FC236}">
                      <a16:creationId xmlns:a16="http://schemas.microsoft.com/office/drawing/2014/main" id="{C225AC36-9940-4824-843E-FCA018E3EC1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26" name="TextBox 225">
                <a:extLst>
                  <a:ext uri="{FF2B5EF4-FFF2-40B4-BE49-F238E27FC236}">
                    <a16:creationId xmlns:a16="http://schemas.microsoft.com/office/drawing/2014/main" id="{21C55162-F78C-1714-D0D9-A1D3617252A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232" name="Group 231">
              <a:extLst>
                <a:ext uri="{FF2B5EF4-FFF2-40B4-BE49-F238E27FC236}">
                  <a16:creationId xmlns:a16="http://schemas.microsoft.com/office/drawing/2014/main" id="{71F51CB9-58ED-46B8-5031-77628761E5C2}"/>
                </a:ext>
              </a:extLst>
            </p:cNvPr>
            <p:cNvGrpSpPr/>
            <p:nvPr/>
          </p:nvGrpSpPr>
          <p:grpSpPr>
            <a:xfrm>
              <a:off x="5678785" y="3760370"/>
              <a:ext cx="230346" cy="230551"/>
              <a:chOff x="1073516" y="1527833"/>
              <a:chExt cx="230346" cy="230551"/>
            </a:xfrm>
          </p:grpSpPr>
          <p:sp>
            <p:nvSpPr>
              <p:cNvPr id="233" name="Freeform 232">
                <a:extLst>
                  <a:ext uri="{FF2B5EF4-FFF2-40B4-BE49-F238E27FC236}">
                    <a16:creationId xmlns:a16="http://schemas.microsoft.com/office/drawing/2014/main" id="{21D5F348-C3B0-8E87-57FB-800DCD03C58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271F246C-3ADD-2C8A-A294-FBD4094F763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36" name="Group 235">
              <a:extLst>
                <a:ext uri="{FF2B5EF4-FFF2-40B4-BE49-F238E27FC236}">
                  <a16:creationId xmlns:a16="http://schemas.microsoft.com/office/drawing/2014/main" id="{83F513E8-F87F-19B9-44F2-5A75E594604C}"/>
                </a:ext>
              </a:extLst>
            </p:cNvPr>
            <p:cNvGrpSpPr/>
            <p:nvPr/>
          </p:nvGrpSpPr>
          <p:grpSpPr>
            <a:xfrm>
              <a:off x="5663046" y="2589645"/>
              <a:ext cx="230346" cy="230551"/>
              <a:chOff x="1073516" y="1527833"/>
              <a:chExt cx="230346" cy="230551"/>
            </a:xfrm>
          </p:grpSpPr>
          <p:sp>
            <p:nvSpPr>
              <p:cNvPr id="237" name="Freeform 236">
                <a:extLst>
                  <a:ext uri="{FF2B5EF4-FFF2-40B4-BE49-F238E27FC236}">
                    <a16:creationId xmlns:a16="http://schemas.microsoft.com/office/drawing/2014/main" id="{FC3CF6FB-C4BB-C6DE-649F-47F7F073969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D9FC32B7-FA5A-1328-7AB6-A0894F7E5CCC}"/>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pic>
        <p:nvPicPr>
          <p:cNvPr id="19" name="Picture 18" descr="Icon&#10;&#10;Description automatically generated">
            <a:extLst>
              <a:ext uri="{FF2B5EF4-FFF2-40B4-BE49-F238E27FC236}">
                <a16:creationId xmlns:a16="http://schemas.microsoft.com/office/drawing/2014/main" id="{421A2BCB-3233-A9FD-4DFD-0176213A6125}"/>
              </a:ext>
            </a:extLst>
          </p:cNvPr>
          <p:cNvPicPr/>
          <p:nvPr/>
        </p:nvPicPr>
        <p:blipFill rotWithShape="1">
          <a:blip r:embed="rId4" cstate="screen">
            <a:extLst>
              <a:ext uri="{28A0092B-C50C-407E-A947-70E740481C1C}">
                <a14:useLocalDpi xmlns:a14="http://schemas.microsoft.com/office/drawing/2010/main"/>
              </a:ext>
            </a:extLst>
          </a:blip>
          <a:srcRect l="4723" t="-17878" r="23712" b="40521"/>
          <a:stretch/>
        </p:blipFill>
        <p:spPr>
          <a:xfrm>
            <a:off x="287307" y="2651797"/>
            <a:ext cx="4250484" cy="4220217"/>
          </a:xfrm>
          <a:prstGeom prst="rect">
            <a:avLst/>
          </a:prstGeom>
        </p:spPr>
      </p:pic>
    </p:spTree>
    <p:extLst>
      <p:ext uri="{BB962C8B-B14F-4D97-AF65-F5344CB8AC3E}">
        <p14:creationId xmlns:p14="http://schemas.microsoft.com/office/powerpoint/2010/main" val="2360783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BFA80132-881C-356D-36E8-1F59F8BAD904}"/>
              </a:ext>
            </a:extLst>
          </p:cNvPr>
          <p:cNvSpPr txBox="1">
            <a:spLocks/>
          </p:cNvSpPr>
          <p:nvPr/>
        </p:nvSpPr>
        <p:spPr>
          <a:xfrm>
            <a:off x="2149153" y="2890684"/>
            <a:ext cx="4605607" cy="3833009"/>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ts val="2260"/>
              </a:lnSpc>
              <a:buClr>
                <a:srgbClr val="EDA13E"/>
              </a:buClr>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Ποια ενδιαφερόμενα μέρη είναι σημαντικά στην εταιρεία μου;</a:t>
            </a:r>
          </a:p>
          <a:p>
            <a:pPr marL="320675" indent="-320675">
              <a:lnSpc>
                <a:spcPts val="2260"/>
              </a:lnSpc>
              <a:buClr>
                <a:srgbClr val="EDA13E"/>
              </a:buClr>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Ποιοι είναι οι πρώτοι προειδοποιητικοί δείκτες μιας κρίσης των ενδιαφερομένων μερών;</a:t>
            </a:r>
          </a:p>
          <a:p>
            <a:pPr marL="320675" indent="-320675">
              <a:lnSpc>
                <a:spcPts val="2260"/>
              </a:lnSpc>
              <a:buClr>
                <a:srgbClr val="EDA13E"/>
              </a:buClr>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Πώς μπορώ να προσδιορίσω την έκταση της κρίσης των ενδιαφερομένων μερών; </a:t>
            </a:r>
          </a:p>
          <a:p>
            <a:pPr marL="320675" indent="-320675">
              <a:lnSpc>
                <a:spcPts val="2260"/>
              </a:lnSpc>
              <a:buClr>
                <a:srgbClr val="EDA13E"/>
              </a:buClr>
              <a:buFont typeface="Arial" panose="020B0604020202020204" pitchFamily="34" charset="0"/>
              <a:buChar char="•"/>
            </a:pPr>
            <a:r>
              <a:rPr lang="en-US" sz="1800" dirty="0">
                <a:latin typeface="Calibri" panose="020F0502020204030204" pitchFamily="34" charset="0"/>
                <a:ea typeface="Calibri" panose="020F0502020204030204" pitchFamily="34" charset="0"/>
                <a:cs typeface="Calibri" panose="020F0502020204030204" pitchFamily="34" charset="0"/>
              </a:rPr>
              <a:t>Πώς μπορώ ως ΜΜΕ να ξεπεράσω την κρίση των ενδιαφερομένων μερών;</a:t>
            </a:r>
          </a:p>
        </p:txBody>
      </p:sp>
      <p:sp>
        <p:nvSpPr>
          <p:cNvPr id="6" name="Text Placeholder 5">
            <a:extLst>
              <a:ext uri="{FF2B5EF4-FFF2-40B4-BE49-F238E27FC236}">
                <a16:creationId xmlns:a16="http://schemas.microsoft.com/office/drawing/2014/main" id="{61028DA7-B03A-BF78-FC09-7EF96BC242E3}"/>
              </a:ext>
            </a:extLst>
          </p:cNvPr>
          <p:cNvSpPr>
            <a:spLocks noGrp="1"/>
          </p:cNvSpPr>
          <p:nvPr>
            <p:ph type="body" sz="quarter" idx="17"/>
          </p:nvPr>
        </p:nvSpPr>
        <p:spPr/>
        <p:txBody>
          <a:bodyPr/>
          <a:lstStyle/>
          <a:p>
            <a:r>
              <a:rPr lang="en-US" dirty="0"/>
              <a:t>02</a:t>
            </a:r>
          </a:p>
        </p:txBody>
      </p:sp>
      <p:sp>
        <p:nvSpPr>
          <p:cNvPr id="8" name="Text Placeholder 7">
            <a:extLst>
              <a:ext uri="{FF2B5EF4-FFF2-40B4-BE49-F238E27FC236}">
                <a16:creationId xmlns:a16="http://schemas.microsoft.com/office/drawing/2014/main" id="{BA7F7843-4251-1B20-625B-BF033A489F68}"/>
              </a:ext>
            </a:extLst>
          </p:cNvPr>
          <p:cNvSpPr>
            <a:spLocks noGrp="1"/>
          </p:cNvSpPr>
          <p:nvPr>
            <p:ph type="body" sz="quarter" idx="16"/>
          </p:nvPr>
        </p:nvSpPr>
        <p:spPr>
          <a:xfrm>
            <a:off x="2149154" y="1379071"/>
            <a:ext cx="4235894" cy="1511613"/>
          </a:xfrm>
        </p:spPr>
        <p:txBody>
          <a:bodyPr>
            <a:normAutofit fontScale="62500" lnSpcReduction="20000"/>
          </a:bodyPr>
          <a:lstStyle/>
          <a:p>
            <a:r>
              <a:rPr lang="en-US" dirty="0">
                <a:latin typeface="Calibri" panose="020F0502020204030204" pitchFamily="34" charset="0"/>
                <a:ea typeface="Calibri" panose="020F0502020204030204" pitchFamily="34" charset="0"/>
                <a:cs typeface="Calibri" panose="020F0502020204030204" pitchFamily="34" charset="0"/>
              </a:rPr>
              <a:t>Διαχείριση ενδιαφερόμενων μερών:</a:t>
            </a:r>
            <a:endParaRPr lang="en-US" sz="4400" dirty="0">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50850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a:spLocks/>
          </p:cNvSpPr>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3400" dirty="0">
                <a:solidFill>
                  <a:schemeClr val="bg1"/>
                </a:solidFill>
              </a:rPr>
              <a:t>Προσδιορισμός βασικών ενδιαφερομένων μερών &amp; διαχείριση σχέσεων </a:t>
            </a:r>
          </a:p>
        </p:txBody>
      </p:sp>
      <p:cxnSp>
        <p:nvCxnSpPr>
          <p:cNvPr id="99" name="Straight Connector 21">
            <a:extLst>
              <a:ext uri="{FF2B5EF4-FFF2-40B4-BE49-F238E27FC236}">
                <a16:creationId xmlns:a16="http://schemas.microsoft.com/office/drawing/2014/main" id="{E097A8D9-BA93-945B-BF6C-7F3FE7032FE8}"/>
              </a:ext>
            </a:extLst>
          </p:cNvPr>
          <p:cNvCxnSpPr>
            <a:cxnSpLocks/>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a:cxnSpLocks/>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112" name="Subtitle 2">
            <a:extLst>
              <a:ext uri="{FF2B5EF4-FFF2-40B4-BE49-F238E27FC236}">
                <a16:creationId xmlns:a16="http://schemas.microsoft.com/office/drawing/2014/main" id="{CEC57D95-A2AD-2D92-4208-E7E7C1CC89D8}"/>
              </a:ext>
            </a:extLst>
          </p:cNvPr>
          <p:cNvSpPr txBox="1">
            <a:spLocks/>
          </p:cNvSpPr>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Οργανισμοί μέσων ενημέρωση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Social Media</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dirty="0">
                <a:solidFill>
                  <a:srgbClr val="245473"/>
                </a:solidFill>
                <a:ea typeface="League Spartan" charset="0"/>
                <a:cs typeface="Poppins" pitchFamily="2" charset="77"/>
              </a:rPr>
              <a:t>Μέσα ενημέρωσης</a:t>
            </a:r>
          </a:p>
        </p:txBody>
      </p:sp>
      <p:sp>
        <p:nvSpPr>
          <p:cNvPr id="114" name="Subtitle 2">
            <a:extLst>
              <a:ext uri="{FF2B5EF4-FFF2-40B4-BE49-F238E27FC236}">
                <a16:creationId xmlns:a16="http://schemas.microsoft.com/office/drawing/2014/main" id="{59C8F845-5784-C2F1-C8B1-7FB561CFED15}"/>
              </a:ext>
            </a:extLst>
          </p:cNvPr>
          <p:cNvSpPr txBox="1">
            <a:spLocks/>
          </p:cNvSpPr>
          <p:nvPr/>
        </p:nvSpPr>
        <p:spPr>
          <a:xfrm>
            <a:off x="10492365" y="3769700"/>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ανεπιστήμια</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Ερευνητικά Ινστιτούτα</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Γνώμες εμπειρογνωμόνων</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dirty="0">
                <a:solidFill>
                  <a:srgbClr val="7F1C58"/>
                </a:solidFill>
                <a:ea typeface="League Spartan" charset="0"/>
                <a:cs typeface="Poppins" pitchFamily="2" charset="77"/>
              </a:rPr>
              <a:t>Επιστήμη</a:t>
            </a:r>
          </a:p>
        </p:txBody>
      </p:sp>
      <p:sp>
        <p:nvSpPr>
          <p:cNvPr id="116" name="Subtitle 2">
            <a:extLst>
              <a:ext uri="{FF2B5EF4-FFF2-40B4-BE49-F238E27FC236}">
                <a16:creationId xmlns:a16="http://schemas.microsoft.com/office/drawing/2014/main" id="{85390968-577F-90B9-059D-6ECE91507E0F}"/>
              </a:ext>
            </a:extLst>
          </p:cNvPr>
          <p:cNvSpPr txBox="1">
            <a:spLocks/>
          </p:cNvSpPr>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Κυβέρνηση &amp; Δήμοι</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λλες αρχές</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dirty="0">
                <a:solidFill>
                  <a:srgbClr val="B41F7A"/>
                </a:solidFill>
                <a:ea typeface="League Spartan" charset="0"/>
                <a:cs typeface="Poppins" pitchFamily="2" charset="77"/>
              </a:rPr>
              <a:t>Πολιτική</a:t>
            </a:r>
          </a:p>
        </p:txBody>
      </p:sp>
      <p:sp>
        <p:nvSpPr>
          <p:cNvPr id="118" name="Subtitle 2">
            <a:extLst>
              <a:ext uri="{FF2B5EF4-FFF2-40B4-BE49-F238E27FC236}">
                <a16:creationId xmlns:a16="http://schemas.microsoft.com/office/drawing/2014/main" id="{5E2F4A70-A096-FA04-9588-370E7682D230}"/>
              </a:ext>
            </a:extLst>
          </p:cNvPr>
          <p:cNvSpPr txBox="1">
            <a:spLocks/>
          </p:cNvSpPr>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Κάτοικοι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ολιτιστικά ιδρύματα </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Ενώσει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Ομάδες πίεσης</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r"/>
            <a:r>
              <a:rPr lang="en-GB" sz="1600" b="1" dirty="0">
                <a:solidFill>
                  <a:srgbClr val="B41F7A"/>
                </a:solidFill>
                <a:ea typeface="League Spartan" charset="0"/>
                <a:cs typeface="Poppins" pitchFamily="2" charset="77"/>
              </a:rPr>
              <a:t>Κοινωνία</a:t>
            </a:r>
          </a:p>
        </p:txBody>
      </p:sp>
      <p:sp>
        <p:nvSpPr>
          <p:cNvPr id="120" name="Subtitle 2">
            <a:extLst>
              <a:ext uri="{FF2B5EF4-FFF2-40B4-BE49-F238E27FC236}">
                <a16:creationId xmlns:a16="http://schemas.microsoft.com/office/drawing/2014/main" id="{953E8046-F532-48CF-8C27-7785D6471DAC}"/>
              </a:ext>
            </a:extLst>
          </p:cNvPr>
          <p:cNvSpPr txBox="1">
            <a:spLocks/>
          </p:cNvSpPr>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Ανταγωνιστέ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ρομηθευτέ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Πάροχοι υπηρεσιών</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dirty="0">
                <a:solidFill>
                  <a:srgbClr val="245473"/>
                </a:solidFill>
                <a:ea typeface="League Spartan" charset="0"/>
                <a:cs typeface="Poppins" pitchFamily="2" charset="77"/>
              </a:rPr>
              <a:t>Βιομηχανία</a:t>
            </a:r>
          </a:p>
        </p:txBody>
      </p:sp>
      <p:sp>
        <p:nvSpPr>
          <p:cNvPr id="122" name="Subtitle 2">
            <a:extLst>
              <a:ext uri="{FF2B5EF4-FFF2-40B4-BE49-F238E27FC236}">
                <a16:creationId xmlns:a16="http://schemas.microsoft.com/office/drawing/2014/main" id="{F7AF8FD1-A002-1C03-EF97-D02A0247BAA7}"/>
              </a:ext>
            </a:extLst>
          </p:cNvPr>
          <p:cNvSpPr txBox="1">
            <a:spLocks/>
          </p:cNvSpPr>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Εταιρεία</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Τράπεζες</a:t>
            </a:r>
          </a:p>
          <a:p>
            <a:pPr marL="171450" indent="-171450" algn="l">
              <a:lnSpc>
                <a:spcPts val="16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λλοι χρηματοδότες</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dirty="0">
                <a:solidFill>
                  <a:srgbClr val="EDA13E"/>
                </a:solidFill>
                <a:ea typeface="League Spartan" charset="0"/>
                <a:cs typeface="Poppins" pitchFamily="2" charset="77"/>
              </a:rPr>
              <a:t>Financier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Εργαζόμενοι</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127" name="Subtitle 2">
            <a:extLst>
              <a:ext uri="{FF2B5EF4-FFF2-40B4-BE49-F238E27FC236}">
                <a16:creationId xmlns:a16="http://schemas.microsoft.com/office/drawing/2014/main" id="{5B47FB10-6FD5-2EE8-7213-2789C9118EBF}"/>
              </a:ext>
            </a:extLst>
          </p:cNvPr>
          <p:cNvSpPr txBox="1">
            <a:spLocks/>
          </p:cNvSpPr>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Άμεση / Έμμεση</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Συμβούλιο Εργασίας</a:t>
            </a:r>
          </a:p>
          <a:p>
            <a:pPr marL="171450" indent="-171450" algn="l">
              <a:lnSpc>
                <a:spcPts val="1520"/>
              </a:lnSpc>
              <a:spcBef>
                <a:spcPts val="0"/>
              </a:spcBef>
              <a:buFont typeface="Arial" panose="020B0604020202020204" pitchFamily="34" charset="0"/>
              <a:buChar char="•"/>
            </a:pPr>
            <a:r>
              <a:rPr lang="en-GB" sz="1600" dirty="0">
                <a:solidFill>
                  <a:srgbClr val="595959"/>
                </a:solidFill>
                <a:latin typeface="+mn-lt"/>
                <a:ea typeface="Lato Light" panose="020F0502020204030203" pitchFamily="34" charset="0"/>
                <a:cs typeface="Mukta ExtraLight" panose="020B0000000000000000" pitchFamily="34" charset="77"/>
              </a:rPr>
              <a:t>Μονάδες εργασίας</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dirty="0">
                <a:solidFill>
                  <a:srgbClr val="F16924"/>
                </a:solidFill>
                <a:ea typeface="League Spartan" charset="0"/>
                <a:cs typeface="Poppins" pitchFamily="2" charset="77"/>
              </a:rPr>
              <a:t>Εργαζόμενοι</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
        <p:nvSpPr>
          <p:cNvPr id="3" name="Text Placeholder 2">
            <a:extLst>
              <a:ext uri="{FF2B5EF4-FFF2-40B4-BE49-F238E27FC236}">
                <a16:creationId xmlns:a16="http://schemas.microsoft.com/office/drawing/2014/main" id="{431F0E8B-7CD5-BD65-7FBD-1E634D2C0319}"/>
              </a:ext>
            </a:extLst>
          </p:cNvPr>
          <p:cNvSpPr>
            <a:spLocks noGrp="1"/>
          </p:cNvSpPr>
          <p:nvPr>
            <p:ph type="body" sz="quarter" idx="18"/>
          </p:nvPr>
        </p:nvSpPr>
        <p:spPr>
          <a:xfrm>
            <a:off x="529759" y="1727200"/>
            <a:ext cx="4716788" cy="5130800"/>
          </a:xfrm>
        </p:spPr>
        <p:txBody>
          <a:bodyPr>
            <a:normAutofit fontScale="85000" lnSpcReduction="10000"/>
          </a:bodyPr>
          <a:lstStyle/>
          <a:p>
            <a:pPr marL="15875" indent="-15875">
              <a:lnSpc>
                <a:spcPts val="2240"/>
              </a:lnSpc>
              <a:spcBef>
                <a:spcPts val="0"/>
              </a:spcBef>
            </a:pPr>
            <a:r>
              <a:rPr lang="en-US" sz="2200" dirty="0">
                <a:ea typeface="Open Sans Light" panose="020B0306030504020204" pitchFamily="34" charset="0"/>
                <a:cs typeface="Open Sans Light" panose="020B0306030504020204" pitchFamily="34" charset="0"/>
              </a:rPr>
              <a:t>Ενδιαφερόμενα μέρη = όλες οι ομάδες εντός και εκτός του οργανισμού, οι οποίες επηρεάζουν την απόδοση και την επίτευξη των στόχων του οργανισμού με ό,τι κάνουν.</a:t>
            </a:r>
          </a:p>
          <a:p>
            <a:pPr marL="15875" indent="-15875">
              <a:lnSpc>
                <a:spcPts val="2240"/>
              </a:lnSpc>
              <a:spcBef>
                <a:spcPts val="0"/>
              </a:spcBef>
            </a:pPr>
            <a:r>
              <a:rPr lang="en-GB" sz="2200" dirty="0">
                <a:ea typeface="Open Sans Light" panose="020B0306030504020204" pitchFamily="34" charset="0"/>
                <a:cs typeface="Open Sans Light" panose="020B0306030504020204" pitchFamily="34" charset="0"/>
              </a:rPr>
              <a:t>Η διαχείριση των ενδιαφερομένων μερών χρησιμεύει στον εντοπισμό των αναγκών και των συμφερόντων των σημαντικότερων ομάδων συμφερόντων σας, προκειμένου να αποτρέψετε κινδύνους και να ελαχιστοποιήσετε τους κινδύνους.</a:t>
            </a:r>
          </a:p>
          <a:p>
            <a:pPr marL="15875" indent="-15875">
              <a:lnSpc>
                <a:spcPts val="2240"/>
              </a:lnSpc>
              <a:spcBef>
                <a:spcPts val="0"/>
              </a:spcBef>
            </a:pPr>
            <a:r>
              <a:rPr lang="en-GB" sz="2200" dirty="0">
                <a:ea typeface="Open Sans Light" panose="020B0306030504020204" pitchFamily="34" charset="0"/>
                <a:cs typeface="Open Sans Light" panose="020B0306030504020204" pitchFamily="34" charset="0"/>
              </a:rPr>
              <a:t>Μέσω της διαχείρισης των ενδιαφερομένων μερών, οι θετικές επιρροές θα πρέπει να ενισχυθούν και οι αρνητικές να ελαχιστοποιηθούν.  </a:t>
            </a:r>
          </a:p>
          <a:p>
            <a:pPr marL="15875" indent="-15875">
              <a:lnSpc>
                <a:spcPts val="2240"/>
              </a:lnSpc>
              <a:spcBef>
                <a:spcPts val="0"/>
              </a:spcBef>
            </a:pPr>
            <a:endParaRPr lang="en-GB" sz="2200" b="1" dirty="0">
              <a:ea typeface="Open Sans Light" panose="020B0306030504020204" pitchFamily="34" charset="0"/>
              <a:cs typeface="Open Sans Light" panose="020B0306030504020204" pitchFamily="34" charset="0"/>
              <a:sym typeface="Wingdings" panose="05000000000000000000" pitchFamily="2" charset="2"/>
            </a:endParaRPr>
          </a:p>
          <a:p>
            <a:pPr marL="15875" indent="-15875">
              <a:lnSpc>
                <a:spcPts val="2240"/>
              </a:lnSpc>
              <a:spcBef>
                <a:spcPts val="0"/>
              </a:spcBef>
            </a:pPr>
            <a:r>
              <a:rPr lang="en-GB" sz="2200" b="1" dirty="0">
                <a:ea typeface="Open Sans Light" panose="020B0306030504020204" pitchFamily="34" charset="0"/>
                <a:cs typeface="Open Sans Light" panose="020B0306030504020204" pitchFamily="34" charset="0"/>
                <a:sym typeface="Wingdings" panose="05000000000000000000" pitchFamily="2" charset="2"/>
              </a:rPr>
              <a:t>Η διαχείριση των ενδιαφερομένων μερών δεν είναι μια εφάπαξ ανάλυση, αλλά πρέπει να διεξάγεται συστηματικά και συνεχώς.</a:t>
            </a:r>
          </a:p>
          <a:p>
            <a:pPr marL="15875" indent="-15875">
              <a:lnSpc>
                <a:spcPts val="2240"/>
              </a:lnSpc>
              <a:spcBef>
                <a:spcPts val="0"/>
              </a:spcBef>
              <a:buFont typeface="Wingdings" panose="05000000000000000000" pitchFamily="2" charset="2"/>
              <a:buChar char="à"/>
            </a:pPr>
            <a:endParaRPr lang="en-GB" sz="2200" dirty="0">
              <a:solidFill>
                <a:schemeClr val="tx1"/>
              </a:solidFill>
              <a:ea typeface="Open Sans Light" panose="020B0306030504020204" pitchFamily="34" charset="0"/>
              <a:cs typeface="Open Sans Light" panose="020B0306030504020204" pitchFamily="34" charset="0"/>
            </a:endParaRPr>
          </a:p>
          <a:p>
            <a:pPr marL="15875" indent="-15875">
              <a:lnSpc>
                <a:spcPts val="2240"/>
              </a:lnSpc>
              <a:spcBef>
                <a:spcPts val="0"/>
              </a:spcBef>
            </a:pPr>
            <a:endParaRPr lang="en-US" sz="2200" dirty="0"/>
          </a:p>
        </p:txBody>
      </p:sp>
    </p:spTree>
    <p:extLst>
      <p:ext uri="{BB962C8B-B14F-4D97-AF65-F5344CB8AC3E}">
        <p14:creationId xmlns:p14="http://schemas.microsoft.com/office/powerpoint/2010/main" val="24653909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p:txBody>
          <a:bodyPr>
            <a:normAutofit lnSpcReduction="10000"/>
          </a:bodyPr>
          <a:lstStyle/>
          <a:p>
            <a:r>
              <a:rPr lang="en-GB" dirty="0"/>
              <a:t>Κρίση των ενδιαφερομένων μερών</a:t>
            </a:r>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3780189"/>
          </a:xfrm>
        </p:spPr>
        <p:txBody>
          <a:bodyPr numCol="2" spcCol="252000">
            <a:normAutofit fontScale="77500" lnSpcReduction="20000"/>
          </a:bodyPr>
          <a:lstStyle/>
          <a:p>
            <a:pPr marL="0" indent="0" algn="just">
              <a:buClr>
                <a:srgbClr val="EDA13E"/>
              </a:buClr>
            </a:pPr>
            <a:r>
              <a:rPr lang="en-US" dirty="0"/>
              <a:t>Εάν η κρίση των ενδιαφερομένων μερών έχει αρνητικό αντίκτυπο στην ανάπτυξη της εταιρείας, μπορεί να ξεπεραστεί μόνο εάν τα διοικητικά ή εποπτικά όργανα καταφέρουν να βρουν μια κοινή βάση για μια συνεργασία εμπιστοσύνης με όλες τις σημαντικές ομάδες συμφερόντων.</a:t>
            </a:r>
          </a:p>
          <a:p>
            <a:pPr marL="0" indent="0" algn="just">
              <a:buClr>
                <a:srgbClr val="EDA13E"/>
              </a:buClr>
            </a:pPr>
            <a:endParaRPr lang="en-US" dirty="0"/>
          </a:p>
          <a:p>
            <a:pPr marL="0" indent="0" algn="just">
              <a:buClr>
                <a:srgbClr val="EDA13E"/>
              </a:buClr>
            </a:pPr>
            <a:r>
              <a:rPr lang="en-US" dirty="0"/>
              <a:t>Η επιτυχία στη διαχείριση κρίσεων εξαρτάται σε μεγάλο βαθμό από το πόσο γρήγορα και με ακρίβεια επικοινωνεί η εταιρεία με τα ενδιαφερόμενα μέρη της. Τα ενδιαφερόμενα μέρη έχουν κάτι να διακινδυνεύσουν και, επομένως, κάτι να κερδίσουν ή να χάσουν ως αποτέλεσμα αυτής της δραστηριότητας. Χρησιμοποιώντας την επιρροή τους, τα ενδιαφερόμενα μέρη κατέχουν το κλειδί για το περιβάλλον στο οποίο δραστηριοποιείται η επιχείρηση. </a:t>
            </a:r>
          </a:p>
          <a:p>
            <a:pPr marL="0" indent="0" algn="just">
              <a:buClr>
                <a:srgbClr val="EDA13E"/>
              </a:buClr>
            </a:pPr>
            <a:endParaRPr lang="en-US" dirty="0"/>
          </a:p>
          <a:p>
            <a:pPr marL="0" indent="0" algn="just">
              <a:buClr>
                <a:srgbClr val="EDA13E"/>
              </a:buClr>
            </a:pPr>
            <a:r>
              <a:rPr lang="en-US" dirty="0"/>
              <a:t>Κατά τη διάρκεια μιας κρίσης, η εταιρεία πρέπει να εξετάζει τον εαυτό της από την οπτική γωνία των ενδιαφερόμενων μερών, διότι τα ενδιαφερόμενα μέρη θα ενδιαφέρονται περισσότερο για το πώς το περιστατικό της κρίσης θα τα επηρεάσει. Περιμένουν από την εταιρεία να επικοινωνήσει μαζί τους, επομένως είναι ζωτικής σημασίας να είναι προληπτική, αν είναι δυνατόν.</a:t>
            </a:r>
          </a:p>
          <a:p>
            <a:pPr marL="0" indent="0" algn="just">
              <a:buClr>
                <a:srgbClr val="EDA13E"/>
              </a:buClr>
            </a:pPr>
            <a:endParaRPr lang="en-US" dirty="0"/>
          </a:p>
        </p:txBody>
      </p:sp>
    </p:spTree>
    <p:extLst>
      <p:ext uri="{BB962C8B-B14F-4D97-AF65-F5344CB8AC3E}">
        <p14:creationId xmlns:p14="http://schemas.microsoft.com/office/powerpoint/2010/main" val="16269670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EAFB54F-D543-321C-8B95-117765F97825}"/>
              </a:ext>
            </a:extLst>
          </p:cNvPr>
          <p:cNvSpPr>
            <a:spLocks noGrp="1"/>
          </p:cNvSpPr>
          <p:nvPr>
            <p:ph type="body" sz="quarter" idx="16"/>
          </p:nvPr>
        </p:nvSpPr>
        <p:spPr>
          <a:xfrm>
            <a:off x="529760" y="138024"/>
            <a:ext cx="11662240" cy="951234"/>
          </a:xfrm>
        </p:spPr>
        <p:txBody>
          <a:bodyPr>
            <a:normAutofit fontScale="62500" lnSpcReduction="20000"/>
          </a:bodyPr>
          <a:lstStyle/>
          <a:p>
            <a:r>
              <a:rPr lang="en-GB" sz="2800" dirty="0" err="1"/>
              <a:t>Κρίση</a:t>
            </a:r>
            <a:r>
              <a:rPr lang="en-GB" sz="2800" dirty="0"/>
              <a:t> </a:t>
            </a:r>
            <a:endParaRPr lang="el-GR" sz="2800" dirty="0"/>
          </a:p>
          <a:p>
            <a:r>
              <a:rPr lang="en-GB" sz="2800" dirty="0" err="1"/>
              <a:t>των</a:t>
            </a:r>
            <a:r>
              <a:rPr lang="en-GB" sz="2800" dirty="0"/>
              <a:t> </a:t>
            </a:r>
            <a:r>
              <a:rPr lang="en-GB" sz="2800" dirty="0" err="1"/>
              <a:t>ενδι</a:t>
            </a:r>
            <a:r>
              <a:rPr lang="en-GB" sz="2800" dirty="0"/>
              <a:t>αφερομένων </a:t>
            </a:r>
            <a:endParaRPr lang="el-GR" sz="2800" dirty="0"/>
          </a:p>
          <a:p>
            <a:r>
              <a:rPr lang="en-GB" sz="2800" dirty="0" err="1"/>
              <a:t>μερών</a:t>
            </a:r>
            <a:endParaRPr lang="en-GB" sz="2800" dirty="0"/>
          </a:p>
        </p:txBody>
      </p:sp>
      <p:sp>
        <p:nvSpPr>
          <p:cNvPr id="7" name="Text Placeholder 6">
            <a:extLst>
              <a:ext uri="{FF2B5EF4-FFF2-40B4-BE49-F238E27FC236}">
                <a16:creationId xmlns:a16="http://schemas.microsoft.com/office/drawing/2014/main" id="{70B34618-970C-56CF-0E84-2B95570E5227}"/>
              </a:ext>
            </a:extLst>
          </p:cNvPr>
          <p:cNvSpPr>
            <a:spLocks noGrp="1"/>
          </p:cNvSpPr>
          <p:nvPr>
            <p:ph type="body" sz="quarter" idx="18"/>
          </p:nvPr>
        </p:nvSpPr>
        <p:spPr>
          <a:xfrm>
            <a:off x="529759" y="1757011"/>
            <a:ext cx="11073662" cy="4288189"/>
          </a:xfrm>
        </p:spPr>
        <p:txBody>
          <a:bodyPr numCol="2" spcCol="252000">
            <a:normAutofit fontScale="92500"/>
          </a:bodyPr>
          <a:lstStyle/>
          <a:p>
            <a:pPr marL="342900" indent="-342900" algn="just">
              <a:spcBef>
                <a:spcPts val="600"/>
              </a:spcBef>
              <a:buClr>
                <a:srgbClr val="EDA13E"/>
              </a:buClr>
              <a:buFont typeface="Arial" panose="020B0604020202020204" pitchFamily="34" charset="0"/>
              <a:buChar char="•"/>
            </a:pPr>
            <a:r>
              <a:rPr lang="en-US" b="1" dirty="0">
                <a:solidFill>
                  <a:srgbClr val="F16924"/>
                </a:solidFill>
              </a:rPr>
              <a:t>Οι εργαζόμενοι </a:t>
            </a:r>
            <a:r>
              <a:rPr lang="en-US" dirty="0"/>
              <a:t>θέλουν οι οικογένειές τους να γνωρίζουν ότι είναι ασφαλείς.</a:t>
            </a:r>
          </a:p>
          <a:p>
            <a:pPr marL="342900" indent="-342900" algn="just">
              <a:spcBef>
                <a:spcPts val="600"/>
              </a:spcBef>
              <a:buClr>
                <a:srgbClr val="EDA13E"/>
              </a:buClr>
              <a:buFont typeface="Arial" panose="020B0604020202020204" pitchFamily="34" charset="0"/>
              <a:buChar char="•"/>
            </a:pPr>
            <a:r>
              <a:rPr lang="en-US" b="1" dirty="0">
                <a:solidFill>
                  <a:srgbClr val="F16924"/>
                </a:solidFill>
              </a:rPr>
              <a:t>Οι διευθυντές και τα ανώτερα διοικητικά στελέχη </a:t>
            </a:r>
            <a:r>
              <a:rPr lang="en-US" dirty="0"/>
              <a:t>θέλουν να γνωρίζουν τη συνολική εικόνα του συμβάντος και τις επιπτώσεις στη βιωσιμότητα της επιχείρησης.</a:t>
            </a:r>
          </a:p>
          <a:p>
            <a:pPr marL="342900" indent="-342900" algn="just">
              <a:spcBef>
                <a:spcPts val="600"/>
              </a:spcBef>
              <a:buClr>
                <a:srgbClr val="EDA13E"/>
              </a:buClr>
              <a:buFont typeface="Arial" panose="020B0604020202020204" pitchFamily="34" charset="0"/>
              <a:buChar char="•"/>
            </a:pPr>
            <a:r>
              <a:rPr lang="en-US" b="1" dirty="0">
                <a:solidFill>
                  <a:srgbClr val="F16924"/>
                </a:solidFill>
              </a:rPr>
              <a:t>Οι κοινοτικοί ηγέτες </a:t>
            </a:r>
            <a:r>
              <a:rPr lang="en-US" dirty="0"/>
              <a:t>θέλουν να γνωρίζουν ότι διατίθενται επαρκείς πόροι για την αντιμετώπιση της κρίσης.  Οι πολιτικοί θέλουν να ενημερώσουν τους ψηφοφόρους τους, να επανεξετάσουν τους κανονισμούς και τους νόμους για την επάρκειά τους υπό το πρίσμα της κρίσης και θέλουν να έχουν την ευκαιρία να εκφράσουν τις ανησυχίες τους.</a:t>
            </a:r>
          </a:p>
          <a:p>
            <a:pPr marL="342900" indent="-342900" algn="just">
              <a:spcBef>
                <a:spcPts val="600"/>
              </a:spcBef>
              <a:buClr>
                <a:srgbClr val="EDA13E"/>
              </a:buClr>
              <a:buFont typeface="Arial" panose="020B0604020202020204" pitchFamily="34" charset="0"/>
              <a:buChar char="•"/>
            </a:pPr>
            <a:r>
              <a:rPr lang="en-US" b="1" dirty="0">
                <a:solidFill>
                  <a:srgbClr val="F16924"/>
                </a:solidFill>
              </a:rPr>
              <a:t>Οι ενδιαφερόμενοι του χρηματοπιστωτικού τομέα </a:t>
            </a:r>
            <a:r>
              <a:rPr lang="en-US" dirty="0"/>
              <a:t>θέλουν να γνωρίζουν τον αντίκτυπο στα έσοδα και την κερδοφορία και τις πιθανές μελλοντικές οικονομικές επιπτώσεις.</a:t>
            </a:r>
          </a:p>
          <a:p>
            <a:pPr marL="342900" indent="-342900" algn="just">
              <a:spcBef>
                <a:spcPts val="600"/>
              </a:spcBef>
              <a:buClr>
                <a:srgbClr val="EDA13E"/>
              </a:buClr>
              <a:buFont typeface="Arial" panose="020B0604020202020204" pitchFamily="34" charset="0"/>
              <a:buChar char="•"/>
            </a:pPr>
            <a:r>
              <a:rPr lang="en-US" b="1" dirty="0">
                <a:solidFill>
                  <a:srgbClr val="F16924"/>
                </a:solidFill>
              </a:rPr>
              <a:t>Τα ειδησεογραφικά μέσα ενημέρωσης </a:t>
            </a:r>
            <a:r>
              <a:rPr lang="en-US" dirty="0"/>
              <a:t>θέλουν πρόσβαση σε πληροφορίες και σε εκπροσώπους, ώστε να μπορούν να αναφέρουν μέσα στις προθεσμίες τους.</a:t>
            </a:r>
          </a:p>
          <a:p>
            <a:pPr marL="342900" indent="-342900" algn="just">
              <a:spcBef>
                <a:spcPts val="600"/>
              </a:spcBef>
              <a:buClr>
                <a:srgbClr val="EDA13E"/>
              </a:buClr>
              <a:buFont typeface="Arial" panose="020B0604020202020204" pitchFamily="34" charset="0"/>
              <a:buChar char="•"/>
            </a:pPr>
            <a:r>
              <a:rPr lang="en-US" b="1" dirty="0">
                <a:solidFill>
                  <a:srgbClr val="F16924"/>
                </a:solidFill>
              </a:rPr>
              <a:t>Άλλοι ενδιαφερόμενοι φορείς </a:t>
            </a:r>
            <a:r>
              <a:rPr lang="en-US" dirty="0"/>
              <a:t>θέλουν να συμμετέχουν στη λήψη αποφάσεων που τους αφορούν και να έχουν πρόσβαση σε πληροφορίες σχετικά με την κρίση.</a:t>
            </a:r>
          </a:p>
        </p:txBody>
      </p:sp>
      <p:sp>
        <p:nvSpPr>
          <p:cNvPr id="3" name="TextBox 2">
            <a:extLst>
              <a:ext uri="{FF2B5EF4-FFF2-40B4-BE49-F238E27FC236}">
                <a16:creationId xmlns:a16="http://schemas.microsoft.com/office/drawing/2014/main" id="{A85F0BED-E9DE-AB49-6D1A-E8CE57ECEDA8}"/>
              </a:ext>
            </a:extLst>
          </p:cNvPr>
          <p:cNvSpPr txBox="1"/>
          <p:nvPr/>
        </p:nvSpPr>
        <p:spPr>
          <a:xfrm>
            <a:off x="4775199" y="565769"/>
            <a:ext cx="6887041" cy="430887"/>
          </a:xfrm>
          <a:prstGeom prst="rect">
            <a:avLst/>
          </a:prstGeom>
          <a:noFill/>
        </p:spPr>
        <p:txBody>
          <a:bodyPr wrap="square">
            <a:spAutoFit/>
          </a:bodyPr>
          <a:lstStyle/>
          <a:p>
            <a:pPr marL="0" indent="0" algn="just">
              <a:buClr>
                <a:srgbClr val="EDA13E"/>
              </a:buClr>
            </a:pPr>
            <a:r>
              <a:rPr lang="en-US" sz="2200" dirty="0">
                <a:solidFill>
                  <a:schemeClr val="bg1"/>
                </a:solidFill>
              </a:rPr>
              <a:t>Οι ανησυχίες κάθε ομάδας ενδιαφερομένων είναι διαφορετικές:</a:t>
            </a:r>
          </a:p>
        </p:txBody>
      </p:sp>
      <p:sp>
        <p:nvSpPr>
          <p:cNvPr id="4" name="Rectangle 3">
            <a:extLst>
              <a:ext uri="{FF2B5EF4-FFF2-40B4-BE49-F238E27FC236}">
                <a16:creationId xmlns:a16="http://schemas.microsoft.com/office/drawing/2014/main" id="{289F2962-1EF9-C9D1-39C1-32FF16EAC680}"/>
              </a:ext>
            </a:extLst>
          </p:cNvPr>
          <p:cNvSpPr/>
          <p:nvPr/>
        </p:nvSpPr>
        <p:spPr>
          <a:xfrm rot="5400000" flipV="1">
            <a:off x="4008354" y="711257"/>
            <a:ext cx="72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4823089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1B4380C-1C73-A333-D970-800D2A58D433}"/>
              </a:ext>
            </a:extLst>
          </p:cNvPr>
          <p:cNvSpPr>
            <a:spLocks noGrp="1"/>
          </p:cNvSpPr>
          <p:nvPr>
            <p:ph type="body" sz="quarter" idx="18"/>
          </p:nvPr>
        </p:nvSpPr>
        <p:spPr>
          <a:xfrm>
            <a:off x="734715" y="2331716"/>
            <a:ext cx="5920086" cy="4754155"/>
          </a:xfrm>
        </p:spPr>
        <p:txBody>
          <a:bodyPr>
            <a:normAutofit/>
          </a:bodyPr>
          <a:lstStyle/>
          <a:p>
            <a:pPr marL="342900" indent="-342900">
              <a:lnSpc>
                <a:spcPts val="2280"/>
              </a:lnSpc>
              <a:spcBef>
                <a:spcPts val="0"/>
              </a:spcBef>
              <a:buClr>
                <a:srgbClr val="F16924"/>
              </a:buClr>
              <a:buFont typeface="Arial" panose="020B0604020202020204" pitchFamily="34" charset="0"/>
              <a:buChar char="•"/>
            </a:pPr>
            <a:r>
              <a:rPr lang="en-GB" sz="1800" dirty="0">
                <a:ea typeface="Open Sans Light" panose="020B0306030504020204" pitchFamily="34" charset="0"/>
                <a:cs typeface="Open Sans Light" panose="020B0306030504020204" pitchFamily="34" charset="0"/>
              </a:rPr>
              <a:t>Η διαχείριση των ενδιαφερομένων μερών είναι μια συνολική διαδικασία. Είναι ανεκτίμητα σημαντική στη διαχείριση κρίσεων, προκειμένου να ευθυγραμμιστούν οι στόχοι των έργων αναδιάρθρωσης με τα συμφέροντα των ανθρώπων που επηρεάζονται και εμπλέκονται.</a:t>
            </a:r>
          </a:p>
          <a:p>
            <a:pPr marL="342900" indent="-342900">
              <a:lnSpc>
                <a:spcPts val="2280"/>
              </a:lnSpc>
              <a:spcBef>
                <a:spcPts val="0"/>
              </a:spcBef>
              <a:buClr>
                <a:srgbClr val="F16924"/>
              </a:buClr>
              <a:buFont typeface="Arial" panose="020B0604020202020204" pitchFamily="34" charset="0"/>
              <a:buChar char="•"/>
            </a:pPr>
            <a:r>
              <a:rPr lang="en-GB" sz="1800" dirty="0">
                <a:ea typeface="Open Sans Light" panose="020B0306030504020204" pitchFamily="34" charset="0"/>
                <a:cs typeface="Open Sans Light" panose="020B0306030504020204" pitchFamily="34" charset="0"/>
              </a:rPr>
              <a:t>Η αντίσταση των ενδιαφερόμενων μερών μπορεί να έχει άμεσο αντίκτυπο στην επιτυχία της αναδιάρθρωσης.  Η διαχείριση των ενδιαφερομένων μερών πρέπει να πραγματοποιείται σε βαθύτερο επίπεδο, καθώς επηρεάζονται περισσότερα ενδιαφερόμενα μέρη και μπορούν να επηρεάσουν την επιτυχία.</a:t>
            </a:r>
          </a:p>
        </p:txBody>
      </p:sp>
      <p:sp>
        <p:nvSpPr>
          <p:cNvPr id="7" name="Text Placeholder 6">
            <a:extLst>
              <a:ext uri="{FF2B5EF4-FFF2-40B4-BE49-F238E27FC236}">
                <a16:creationId xmlns:a16="http://schemas.microsoft.com/office/drawing/2014/main" id="{EED3B07A-32D0-929B-7C57-DD4398ACFFF4}"/>
              </a:ext>
            </a:extLst>
          </p:cNvPr>
          <p:cNvSpPr>
            <a:spLocks noGrp="1"/>
          </p:cNvSpPr>
          <p:nvPr>
            <p:ph type="body" sz="quarter" idx="16"/>
          </p:nvPr>
        </p:nvSpPr>
        <p:spPr>
          <a:xfrm>
            <a:off x="734715" y="642972"/>
            <a:ext cx="6123286" cy="1896905"/>
          </a:xfrm>
        </p:spPr>
        <p:txBody>
          <a:bodyPr>
            <a:normAutofit/>
          </a:bodyPr>
          <a:lstStyle/>
          <a:p>
            <a:r>
              <a:rPr lang="en-US" sz="2800" dirty="0"/>
              <a:t>Προσδιορισμός των βασικών ενδιαφερομένων μερών και διαχείριση των σχέσεων</a:t>
            </a:r>
          </a:p>
        </p:txBody>
      </p:sp>
      <p:pic>
        <p:nvPicPr>
          <p:cNvPr id="12" name="Picture Placeholder 11">
            <a:extLst>
              <a:ext uri="{FF2B5EF4-FFF2-40B4-BE49-F238E27FC236}">
                <a16:creationId xmlns:a16="http://schemas.microsoft.com/office/drawing/2014/main" id="{6694CCDA-46B6-8AE5-EE04-98F7748A11B7}"/>
              </a:ext>
            </a:extLst>
          </p:cNvPr>
          <p:cNvPicPr>
            <a:picLocks noGrp="1" noChangeAspect="1"/>
          </p:cNvPicPr>
          <p:nvPr>
            <p:ph type="pic" sz="quarter" idx="4294967295"/>
          </p:nvPr>
        </p:nvPicPr>
        <p:blipFill rotWithShape="1">
          <a:blip r:embed="rId2" cstate="screen">
            <a:extLst>
              <a:ext uri="{28A0092B-C50C-407E-A947-70E740481C1C}">
                <a14:useLocalDpi xmlns:a14="http://schemas.microsoft.com/office/drawing/2010/main"/>
              </a:ext>
            </a:extLst>
          </a:blip>
          <a:srcRect l="45177" r="16347"/>
          <a:stretch/>
        </p:blipFill>
        <p:spPr>
          <a:xfrm>
            <a:off x="7479777" y="-33744"/>
            <a:ext cx="3977508" cy="6891744"/>
          </a:xfrm>
        </p:spPr>
      </p:pic>
      <p:sp>
        <p:nvSpPr>
          <p:cNvPr id="4" name="Rectangle 3">
            <a:extLst>
              <a:ext uri="{FF2B5EF4-FFF2-40B4-BE49-F238E27FC236}">
                <a16:creationId xmlns:a16="http://schemas.microsoft.com/office/drawing/2014/main" id="{DA70C79E-5E83-BFC9-41DF-94E1FAAE3A8A}"/>
              </a:ext>
            </a:extLst>
          </p:cNvPr>
          <p:cNvSpPr/>
          <p:nvPr/>
        </p:nvSpPr>
        <p:spPr>
          <a:xfrm>
            <a:off x="734714" y="1998255"/>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2385879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34" name="Group 33">
            <a:extLst>
              <a:ext uri="{FF2B5EF4-FFF2-40B4-BE49-F238E27FC236}">
                <a16:creationId xmlns:a16="http://schemas.microsoft.com/office/drawing/2014/main" id="{1EA0648E-C7C9-7872-B5E1-E2CDEE529A07}"/>
              </a:ext>
            </a:extLst>
          </p:cNvPr>
          <p:cNvGrpSpPr/>
          <p:nvPr/>
        </p:nvGrpSpPr>
        <p:grpSpPr>
          <a:xfrm>
            <a:off x="4792474" y="1266829"/>
            <a:ext cx="6404436" cy="4909136"/>
            <a:chOff x="5872113" y="815406"/>
            <a:chExt cx="6404436" cy="4909136"/>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6404436" cy="4909136"/>
              <a:chOff x="5501052" y="880082"/>
              <a:chExt cx="6404436"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931379" cy="701724"/>
                <a:chOff x="1416598" y="919839"/>
                <a:chExt cx="3931379"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Προσδιορισμός των ενδιαφερομένων μερών</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931379" cy="701724"/>
                <a:chOff x="1416598" y="919839"/>
                <a:chExt cx="3931379"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Ανάλυση των ενδιαφερομένων μερών</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4198431" cy="712451"/>
                <a:chOff x="1416598" y="919839"/>
                <a:chExt cx="4198431" cy="712451"/>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026996"/>
                  <a:ext cx="3352992" cy="605294"/>
                </a:xfrm>
                <a:prstGeom prst="rect">
                  <a:avLst/>
                </a:prstGeom>
                <a:noFill/>
              </p:spPr>
              <p:txBody>
                <a:bodyPr wrap="square" numCol="1" rtlCol="0" anchor="ctr">
                  <a:spAutoFit/>
                </a:bodyPr>
                <a:lstStyle/>
                <a:p>
                  <a:pPr>
                    <a:lnSpc>
                      <a:spcPts val="2040"/>
                    </a:lnSpc>
                    <a:defRPr/>
                  </a:pPr>
                  <a:r>
                    <a:rPr lang="en-GB" dirty="0">
                      <a:solidFill>
                        <a:schemeClr val="bg1"/>
                      </a:solidFill>
                      <a:ea typeface="Lato Light" panose="020F0502020204030203" pitchFamily="34" charset="0"/>
                      <a:cs typeface="Poppins" pitchFamily="2" charset="77"/>
                    </a:rPr>
                    <a:t>Εφαρμογή και παρακολούθηση των επικοινωνιών</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931379" cy="701724"/>
                <a:chOff x="1416598" y="919839"/>
                <a:chExt cx="3931379"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1112658"/>
                  <a:ext cx="308594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Μέτρα και σχέδιο δράσης</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4304140" cy="701724"/>
                <a:chOff x="1416598" y="919839"/>
                <a:chExt cx="4304140"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7791"/>
                  <a:ext cx="3458701" cy="605294"/>
                </a:xfrm>
                <a:prstGeom prst="rect">
                  <a:avLst/>
                </a:prstGeom>
                <a:noFill/>
              </p:spPr>
              <p:txBody>
                <a:bodyPr wrap="square" numCol="1" rtlCol="0" anchor="ctr">
                  <a:spAutoFit/>
                </a:bodyPr>
                <a:lstStyle/>
                <a:p>
                  <a:pPr>
                    <a:lnSpc>
                      <a:spcPts val="2040"/>
                    </a:lnSpc>
                    <a:defRPr/>
                  </a:pPr>
                  <a:r>
                    <a:rPr lang="en-GB" sz="1600" dirty="0">
                      <a:solidFill>
                        <a:schemeClr val="bg1"/>
                      </a:solidFill>
                      <a:ea typeface="Lato Light" panose="020F0502020204030203" pitchFamily="34" charset="0"/>
                      <a:cs typeface="Poppins" pitchFamily="2" charset="77"/>
                    </a:rPr>
                    <a:t>Παρακολούθηση &amp; αναθεώρηση των ενδιαφερομένων μερών</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sp>
        <p:nvSpPr>
          <p:cNvPr id="28" name="Rectangle 27">
            <a:extLst>
              <a:ext uri="{FF2B5EF4-FFF2-40B4-BE49-F238E27FC236}">
                <a16:creationId xmlns:a16="http://schemas.microsoft.com/office/drawing/2014/main" id="{2F2BCB54-4AD5-5A10-EE74-16CE2B08880F}"/>
              </a:ext>
            </a:extLst>
          </p:cNvPr>
          <p:cNvSpPr/>
          <p:nvPr/>
        </p:nvSpPr>
        <p:spPr>
          <a:xfrm>
            <a:off x="1" y="0"/>
            <a:ext cx="476716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407358" cy="581244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dirty="0">
                <a:solidFill>
                  <a:schemeClr val="bg1"/>
                </a:solidFill>
              </a:rPr>
              <a:t>Τα 5 βήματα της διαχείρισης των ενδιαφερομένων μερών </a:t>
            </a:r>
          </a:p>
        </p:txBody>
      </p:sp>
      <p:sp>
        <p:nvSpPr>
          <p:cNvPr id="30" name="Rectangle 29">
            <a:extLst>
              <a:ext uri="{FF2B5EF4-FFF2-40B4-BE49-F238E27FC236}">
                <a16:creationId xmlns:a16="http://schemas.microsoft.com/office/drawing/2014/main" id="{69B703A5-2327-0D30-455B-43ECE620F1B0}"/>
              </a:ext>
            </a:extLst>
          </p:cNvPr>
          <p:cNvSpPr/>
          <p:nvPr/>
        </p:nvSpPr>
        <p:spPr>
          <a:xfrm>
            <a:off x="533968" y="22861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Icon&#10;&#10;Description automatically generated">
            <a:extLst>
              <a:ext uri="{FF2B5EF4-FFF2-40B4-BE49-F238E27FC236}">
                <a16:creationId xmlns:a16="http://schemas.microsoft.com/office/drawing/2014/main" id="{21F1D58D-EBD1-856D-6125-28A5A1A0D85C}"/>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67609" y="2611814"/>
            <a:ext cx="4250484" cy="4220217"/>
          </a:xfrm>
          <a:prstGeom prst="rect">
            <a:avLst/>
          </a:prstGeom>
        </p:spPr>
      </p:pic>
    </p:spTree>
    <p:extLst>
      <p:ext uri="{BB962C8B-B14F-4D97-AF65-F5344CB8AC3E}">
        <p14:creationId xmlns:p14="http://schemas.microsoft.com/office/powerpoint/2010/main" val="222956942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fontScale="92500"/>
          </a:bodyPr>
          <a:lstStyle/>
          <a:p>
            <a:pPr marL="12700" indent="-12700"/>
            <a:r>
              <a:rPr lang="en-US" dirty="0"/>
              <a:t>Στο πρώτο βήμα, εντοπίστε τους ενδιαφερόμενους φορείς που πρέπει να ληφθούν υπόψη. Το βήμα αυτό μπορεί να υποστηριχθεί από μια μέθοδο δημιουργικότητας όπως ο καταιγισμός ιδεών. </a:t>
            </a:r>
          </a:p>
          <a:p>
            <a:pPr marL="12700" indent="-12700"/>
            <a:endParaRPr lang="en-US" dirty="0"/>
          </a:p>
          <a:p>
            <a:pPr marL="12700" indent="-12700"/>
            <a:r>
              <a:rPr lang="en-US" b="1" dirty="0">
                <a:solidFill>
                  <a:srgbClr val="F16924"/>
                </a:solidFill>
              </a:rPr>
              <a:t> Χρησιμοποιήστε τις ακόλουθες κατευθυντήριες ερωτήσεις:</a:t>
            </a:r>
          </a:p>
          <a:p>
            <a:pPr marL="12700" indent="-12700"/>
            <a:endParaRPr lang="en-US" dirty="0"/>
          </a:p>
          <a:p>
            <a:pPr marL="342900" indent="-342900">
              <a:buClr>
                <a:srgbClr val="F16924"/>
              </a:buClr>
              <a:buFont typeface="Arial" panose="020B0604020202020204" pitchFamily="34" charset="0"/>
              <a:buChar char="•"/>
            </a:pPr>
            <a:r>
              <a:rPr lang="en-US" dirty="0"/>
              <a:t>Ποιος μπορεί να επηρεάσει την εταιρεία μου;</a:t>
            </a:r>
          </a:p>
          <a:p>
            <a:pPr marL="342900" indent="-342900">
              <a:buClr>
                <a:srgbClr val="F16924"/>
              </a:buClr>
              <a:buFont typeface="Arial" panose="020B0604020202020204" pitchFamily="34" charset="0"/>
              <a:buChar char="•"/>
            </a:pPr>
            <a:r>
              <a:rPr lang="en-US" dirty="0"/>
              <a:t>Ποιος συμμετέχει στην εταιρεία μου;</a:t>
            </a:r>
          </a:p>
          <a:p>
            <a:pPr marL="342900" indent="-342900">
              <a:buClr>
                <a:srgbClr val="F16924"/>
              </a:buClr>
              <a:buFont typeface="Arial" panose="020B0604020202020204" pitchFamily="34" charset="0"/>
              <a:buChar char="•"/>
            </a:pPr>
            <a:r>
              <a:rPr lang="en-US" dirty="0"/>
              <a:t>Ποιος επηρεάζεται από τον αντίκτυπο των δραστηριοτήτων της εταιρείας μου;</a:t>
            </a:r>
          </a:p>
          <a:p>
            <a:pPr marL="342900" indent="-342900">
              <a:buClr>
                <a:srgbClr val="F16924"/>
              </a:buClr>
              <a:buFont typeface="Arial" panose="020B0604020202020204" pitchFamily="34" charset="0"/>
              <a:buChar char="•"/>
            </a:pPr>
            <a:r>
              <a:rPr lang="en-US" dirty="0"/>
              <a:t>Ποιος έχει συμφέρον από την έκβαση των επιχειρηματικών δραστηριοτήτων της εταιρείας μου;</a:t>
            </a:r>
          </a:p>
          <a:p>
            <a:pPr marL="342900" indent="-342900">
              <a:buClr>
                <a:srgbClr val="F16924"/>
              </a:buClr>
              <a:buFont typeface="Arial" panose="020B0604020202020204" pitchFamily="34" charset="0"/>
              <a:buChar char="•"/>
            </a:pPr>
            <a:endParaRPr lang="en-US" dirty="0"/>
          </a:p>
          <a:p>
            <a:pPr marL="12700" indent="-12700"/>
            <a:r>
              <a:rPr lang="en-US" dirty="0"/>
              <a:t>Τα αναγνωρισμένα ενδιαφερόμενα μέρη θα πρέπει να απεικονίζονται με σαφήνεια - είτε σε μορφή πίνακα είτε σε μορφή χάρτη σκέψης ή κάρτας ενδιαφερόμενων μερών.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r>
              <a:rPr lang="en-US" dirty="0"/>
              <a:t>Προσδιορισμός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16901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4754535" cy="822373"/>
          </a:xfrm>
        </p:spPr>
        <p:txBody>
          <a:bodyPr/>
          <a:lstStyle/>
          <a:p>
            <a:r>
              <a:rPr lang="el-GR" sz="2400" dirty="0">
                <a:latin typeface="Calibri" panose="020F0502020204030204" pitchFamily="34" charset="0"/>
                <a:ea typeface="Calibri" panose="020F0502020204030204" pitchFamily="34" charset="0"/>
                <a:cs typeface="Calibri" panose="020F0502020204030204" pitchFamily="34" charset="0"/>
              </a:rPr>
              <a:t>Ηγετική κουλτούρα</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Διαχείριση ενδιαφερόμενων μερών</a:t>
            </a:r>
            <a:endParaRPr lang="en-US" sz="24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t>Κίνητρα σε κρίση: Ο ρόλος του ελέγχου</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4</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4"/>
            <a:ext cx="4503318" cy="2258867"/>
          </a:xfrm>
        </p:spPr>
        <p:txBody>
          <a:bodyPr>
            <a:normAutofit fontScale="92500"/>
          </a:bodyPr>
          <a:lstStyle/>
          <a:p>
            <a:r>
              <a:rPr lang="el-GR" b="1" dirty="0">
                <a:latin typeface="Calibri" panose="020F0502020204030204" pitchFamily="34" charset="0"/>
                <a:ea typeface="Calibri" panose="020F0502020204030204" pitchFamily="34" charset="0"/>
                <a:cs typeface="Calibri" panose="020F0502020204030204" pitchFamily="34" charset="0"/>
              </a:rPr>
              <a:t>Ηγετική </a:t>
            </a:r>
            <a:r>
              <a:rPr lang="en-US" b="1" dirty="0" err="1">
                <a:latin typeface="Calibri" panose="020F0502020204030204" pitchFamily="34" charset="0"/>
                <a:ea typeface="Calibri" panose="020F0502020204030204" pitchFamily="34" charset="0"/>
                <a:cs typeface="Calibri" panose="020F0502020204030204" pitchFamily="34" charset="0"/>
              </a:rPr>
              <a:t>Κουλτούρ</a:t>
            </a:r>
            <a:r>
              <a:rPr lang="en-US" b="1" dirty="0">
                <a:latin typeface="Calibri" panose="020F0502020204030204" pitchFamily="34" charset="0"/>
                <a:ea typeface="Calibri" panose="020F0502020204030204" pitchFamily="34" charset="0"/>
                <a:cs typeface="Calibri" panose="020F0502020204030204" pitchFamily="34" charset="0"/>
              </a:rPr>
              <a:t>α, διαχείριση ενδιαφερόμενων μερών και επικοινωνί</a:t>
            </a:r>
            <a:r>
              <a:rPr lang="el-GR" b="1" dirty="0">
                <a:latin typeface="Calibri" panose="020F0502020204030204" pitchFamily="34" charset="0"/>
                <a:ea typeface="Calibri" panose="020F0502020204030204" pitchFamily="34" charset="0"/>
                <a:cs typeface="Calibri" panose="020F0502020204030204" pitchFamily="34" charset="0"/>
              </a:rPr>
              <a:t>α</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1060350" y="300676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72797" y="3429000"/>
            <a:ext cx="4389483" cy="2478432"/>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Αυτή η ενότητα θα σας προσφέρει μια εμπεριστατωμένη κατανόηση των βασικών δεξιοτήτων των σύγχρονων ηγετών σε έναν ταχέως μεταβαλλόμενο κόσμο και μια κατανόηση των βασικών λειτουργιών της ηγεσίας, της διαχείρισης των ενδιαφερόμενων μερών και της επικοινωνίας στο πλαίσιο μιας επιχειρηματικής κρίσης.</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623225" y="1113561"/>
            <a:ext cx="2258868" cy="511078"/>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l-GR" sz="2800" dirty="0">
                <a:solidFill>
                  <a:schemeClr val="bg1"/>
                </a:solidFill>
                <a:latin typeface="Calibri" panose="020F0502020204030204" pitchFamily="34" charset="0"/>
                <a:cs typeface="Calibri" panose="020F0502020204030204" pitchFamily="34" charset="0"/>
              </a:rPr>
              <a:t>ΕΝΟΤΗΤ</a:t>
            </a:r>
            <a:r>
              <a:rPr lang="en-IE" sz="2800" dirty="0">
                <a:solidFill>
                  <a:schemeClr val="bg1"/>
                </a:solidFill>
                <a:latin typeface="Calibri" panose="020F0502020204030204" pitchFamily="34" charset="0"/>
                <a:cs typeface="Calibri" panose="020F0502020204030204" pitchFamily="34" charset="0"/>
              </a:rPr>
              <a:t>Α 04</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Επ</a:t>
            </a:r>
            <a:r>
              <a:rPr lang="en-US" sz="2400" dirty="0" err="1">
                <a:latin typeface="Calibri" panose="020F0502020204030204" pitchFamily="34" charset="0"/>
                <a:ea typeface="Calibri" panose="020F0502020204030204" pitchFamily="34" charset="0"/>
                <a:cs typeface="Calibri" panose="020F0502020204030204" pitchFamily="34" charset="0"/>
              </a:rPr>
              <a:t>ικοινωνί</a:t>
            </a:r>
            <a:r>
              <a:rPr lang="el-GR" sz="2400" dirty="0">
                <a:latin typeface="Calibri" panose="020F0502020204030204" pitchFamily="34" charset="0"/>
                <a:ea typeface="Calibri" panose="020F0502020204030204" pitchFamily="34" charset="0"/>
                <a:cs typeface="Calibri" panose="020F0502020204030204" pitchFamily="34" charset="0"/>
              </a:rPr>
              <a:t>α</a:t>
            </a:r>
            <a:endParaRPr lang="en-US" sz="2400" dirty="0">
              <a:latin typeface="Calibri" panose="020F0502020204030204" pitchFamily="34" charset="0"/>
              <a:ea typeface="Calibri" panose="020F0502020204030204" pitchFamily="34" charset="0"/>
              <a:cs typeface="Calibri" panose="020F0502020204030204" pitchFamily="34" charset="0"/>
            </a:endParaRPr>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7704844" cy="828675"/>
          </a:xfrm>
        </p:spPr>
        <p:txBody>
          <a:bodyPr>
            <a:normAutofit fontScale="92500" lnSpcReduction="20000"/>
          </a:bodyPr>
          <a:lstStyle/>
          <a:p>
            <a:r>
              <a:rPr lang="en-US" dirty="0"/>
              <a:t>Εντοπισμός ενδιαφερομένων μερών (ορισμένα εργαλεία)</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1</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4" name="Gruppieren 4">
            <a:extLst>
              <a:ext uri="{FF2B5EF4-FFF2-40B4-BE49-F238E27FC236}">
                <a16:creationId xmlns:a16="http://schemas.microsoft.com/office/drawing/2014/main" id="{BC7B6003-3084-FFAC-576A-9C986A5DC5C4}"/>
              </a:ext>
            </a:extLst>
          </p:cNvPr>
          <p:cNvGrpSpPr>
            <a:grpSpLocks noChangeAspect="1"/>
          </p:cNvGrpSpPr>
          <p:nvPr/>
        </p:nvGrpSpPr>
        <p:grpSpPr>
          <a:xfrm>
            <a:off x="1569991" y="3339788"/>
            <a:ext cx="4636988" cy="2646895"/>
            <a:chOff x="2282732" y="1678689"/>
            <a:chExt cx="7626535" cy="4047274"/>
          </a:xfrm>
        </p:grpSpPr>
        <p:cxnSp>
          <p:nvCxnSpPr>
            <p:cNvPr id="5" name="Straight Arrow Connector 2">
              <a:extLst>
                <a:ext uri="{FF2B5EF4-FFF2-40B4-BE49-F238E27FC236}">
                  <a16:creationId xmlns:a16="http://schemas.microsoft.com/office/drawing/2014/main" id="{4DB4B76D-0FED-B8BF-16DB-6D1CB75F109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3">
              <a:extLst>
                <a:ext uri="{FF2B5EF4-FFF2-40B4-BE49-F238E27FC236}">
                  <a16:creationId xmlns:a16="http://schemas.microsoft.com/office/drawing/2014/main" id="{FF520F99-22A5-161C-281B-6ED42F9267D2}"/>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4">
              <a:extLst>
                <a:ext uri="{FF2B5EF4-FFF2-40B4-BE49-F238E27FC236}">
                  <a16:creationId xmlns:a16="http://schemas.microsoft.com/office/drawing/2014/main" id="{C4C448F0-29F8-877E-52A7-3EBAFF0DF04F}"/>
                </a:ext>
              </a:extLst>
            </p:cNvPr>
            <p:cNvCxnSpPr>
              <a:stCxn id="31"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5">
              <a:extLst>
                <a:ext uri="{FF2B5EF4-FFF2-40B4-BE49-F238E27FC236}">
                  <a16:creationId xmlns:a16="http://schemas.microsoft.com/office/drawing/2014/main" id="{E75E9903-96AB-8977-8202-12CBCD604707}"/>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6">
              <a:extLst>
                <a:ext uri="{FF2B5EF4-FFF2-40B4-BE49-F238E27FC236}">
                  <a16:creationId xmlns:a16="http://schemas.microsoft.com/office/drawing/2014/main" id="{D5FE52A3-63F4-FE91-B4EA-7A52B8657207}"/>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7">
              <a:extLst>
                <a:ext uri="{FF2B5EF4-FFF2-40B4-BE49-F238E27FC236}">
                  <a16:creationId xmlns:a16="http://schemas.microsoft.com/office/drawing/2014/main" id="{F6700BE2-540B-B19A-5128-1849D5D60972}"/>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8">
              <a:extLst>
                <a:ext uri="{FF2B5EF4-FFF2-40B4-BE49-F238E27FC236}">
                  <a16:creationId xmlns:a16="http://schemas.microsoft.com/office/drawing/2014/main" id="{9A47F8CE-BA0C-12F0-A45F-4442198FBF0E}"/>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9">
              <a:extLst>
                <a:ext uri="{FF2B5EF4-FFF2-40B4-BE49-F238E27FC236}">
                  <a16:creationId xmlns:a16="http://schemas.microsoft.com/office/drawing/2014/main" id="{78F0AFC3-8668-E109-4D7C-BDE36247F9FE}"/>
                </a:ext>
              </a:extLst>
            </p:cNvPr>
            <p:cNvCxnSpPr>
              <a:stCxn id="33" idx="4"/>
              <a:endCxn id="37"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0">
              <a:extLst>
                <a:ext uri="{FF2B5EF4-FFF2-40B4-BE49-F238E27FC236}">
                  <a16:creationId xmlns:a16="http://schemas.microsoft.com/office/drawing/2014/main" id="{3E6ACFD1-A048-92F9-213B-5626AE670762}"/>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1">
              <a:extLst>
                <a:ext uri="{FF2B5EF4-FFF2-40B4-BE49-F238E27FC236}">
                  <a16:creationId xmlns:a16="http://schemas.microsoft.com/office/drawing/2014/main" id="{B30CA0B1-A908-BBAB-B407-166B84CA30EC}"/>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2">
              <a:extLst>
                <a:ext uri="{FF2B5EF4-FFF2-40B4-BE49-F238E27FC236}">
                  <a16:creationId xmlns:a16="http://schemas.microsoft.com/office/drawing/2014/main" id="{13ABFF6B-BAE8-3E52-1EA2-B5D47BB2CFFA}"/>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3">
              <a:extLst>
                <a:ext uri="{FF2B5EF4-FFF2-40B4-BE49-F238E27FC236}">
                  <a16:creationId xmlns:a16="http://schemas.microsoft.com/office/drawing/2014/main" id="{7C56273E-F7A1-7D5B-B29E-33FCD4656D2C}"/>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14">
              <a:extLst>
                <a:ext uri="{FF2B5EF4-FFF2-40B4-BE49-F238E27FC236}">
                  <a16:creationId xmlns:a16="http://schemas.microsoft.com/office/drawing/2014/main" id="{5597440C-B6BA-ABD9-5DD0-CC330929B66A}"/>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15">
              <a:extLst>
                <a:ext uri="{FF2B5EF4-FFF2-40B4-BE49-F238E27FC236}">
                  <a16:creationId xmlns:a16="http://schemas.microsoft.com/office/drawing/2014/main" id="{7F63CD0A-8825-5FC7-1A01-7930002170F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16">
              <a:extLst>
                <a:ext uri="{FF2B5EF4-FFF2-40B4-BE49-F238E27FC236}">
                  <a16:creationId xmlns:a16="http://schemas.microsoft.com/office/drawing/2014/main" id="{44C8C46A-F2F8-9DDB-4F79-DD666F1C445B}"/>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17">
              <a:extLst>
                <a:ext uri="{FF2B5EF4-FFF2-40B4-BE49-F238E27FC236}">
                  <a16:creationId xmlns:a16="http://schemas.microsoft.com/office/drawing/2014/main" id="{D1BF078C-AA3F-330A-1AC3-E01B8CE3A54D}"/>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18">
              <a:extLst>
                <a:ext uri="{FF2B5EF4-FFF2-40B4-BE49-F238E27FC236}">
                  <a16:creationId xmlns:a16="http://schemas.microsoft.com/office/drawing/2014/main" id="{94E5B871-8B78-DA48-755F-F7743921E7A3}"/>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9">
              <a:extLst>
                <a:ext uri="{FF2B5EF4-FFF2-40B4-BE49-F238E27FC236}">
                  <a16:creationId xmlns:a16="http://schemas.microsoft.com/office/drawing/2014/main" id="{58AD2D27-0AA7-7A56-9E41-9747B3909591}"/>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0">
              <a:extLst>
                <a:ext uri="{FF2B5EF4-FFF2-40B4-BE49-F238E27FC236}">
                  <a16:creationId xmlns:a16="http://schemas.microsoft.com/office/drawing/2014/main" id="{3FA49CD2-F8C2-7036-6DDB-3678ABC177C0}"/>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1">
              <a:extLst>
                <a:ext uri="{FF2B5EF4-FFF2-40B4-BE49-F238E27FC236}">
                  <a16:creationId xmlns:a16="http://schemas.microsoft.com/office/drawing/2014/main" id="{D44E7A1B-DA70-D771-74E7-00E7A18D7D8D}"/>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2">
              <a:extLst>
                <a:ext uri="{FF2B5EF4-FFF2-40B4-BE49-F238E27FC236}">
                  <a16:creationId xmlns:a16="http://schemas.microsoft.com/office/drawing/2014/main" id="{AE96B55D-4E25-D925-24A8-4AB8911FDE87}"/>
                </a:ext>
              </a:extLst>
            </p:cNvPr>
            <p:cNvCxnSpPr>
              <a:stCxn id="36" idx="6"/>
              <a:endCxn id="38"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0" name="Oval 25">
              <a:extLst>
                <a:ext uri="{FF2B5EF4-FFF2-40B4-BE49-F238E27FC236}">
                  <a16:creationId xmlns:a16="http://schemas.microsoft.com/office/drawing/2014/main" id="{EFC9C0C8-A831-4363-6C21-172A3759C112}"/>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1" name="Oval 26">
              <a:extLst>
                <a:ext uri="{FF2B5EF4-FFF2-40B4-BE49-F238E27FC236}">
                  <a16:creationId xmlns:a16="http://schemas.microsoft.com/office/drawing/2014/main" id="{60C3266B-BB7C-012B-1F97-F778AB3FD31B}"/>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2" name="Oval 27">
              <a:extLst>
                <a:ext uri="{FF2B5EF4-FFF2-40B4-BE49-F238E27FC236}">
                  <a16:creationId xmlns:a16="http://schemas.microsoft.com/office/drawing/2014/main" id="{4871D669-F72D-9E65-D58E-901D8D5A3A7D}"/>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3" name="Oval 28">
              <a:extLst>
                <a:ext uri="{FF2B5EF4-FFF2-40B4-BE49-F238E27FC236}">
                  <a16:creationId xmlns:a16="http://schemas.microsoft.com/office/drawing/2014/main" id="{88F918D2-A272-98F8-C60F-A141EDE8CBA6}"/>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4" name="Oval 29">
              <a:extLst>
                <a:ext uri="{FF2B5EF4-FFF2-40B4-BE49-F238E27FC236}">
                  <a16:creationId xmlns:a16="http://schemas.microsoft.com/office/drawing/2014/main" id="{D624904F-197F-4DA2-6B8B-C368F51FBF76}"/>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5" name="Oval 30">
              <a:extLst>
                <a:ext uri="{FF2B5EF4-FFF2-40B4-BE49-F238E27FC236}">
                  <a16:creationId xmlns:a16="http://schemas.microsoft.com/office/drawing/2014/main" id="{F6FCB1D0-8EC8-382D-0E43-D13D292A3AF0}"/>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6" name="Oval 31">
              <a:extLst>
                <a:ext uri="{FF2B5EF4-FFF2-40B4-BE49-F238E27FC236}">
                  <a16:creationId xmlns:a16="http://schemas.microsoft.com/office/drawing/2014/main" id="{2623F845-8057-7A9E-9EE5-1F4ABB08ACCD}"/>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7" name="Oval 32">
              <a:extLst>
                <a:ext uri="{FF2B5EF4-FFF2-40B4-BE49-F238E27FC236}">
                  <a16:creationId xmlns:a16="http://schemas.microsoft.com/office/drawing/2014/main" id="{25A7E3D6-A119-70CB-06A0-217461C2CA6A}"/>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8" name="Oval 33">
              <a:extLst>
                <a:ext uri="{FF2B5EF4-FFF2-40B4-BE49-F238E27FC236}">
                  <a16:creationId xmlns:a16="http://schemas.microsoft.com/office/drawing/2014/main" id="{7774094F-3551-C2FE-5787-30BED65F1C80}"/>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9" name="Oval 34">
              <a:extLst>
                <a:ext uri="{FF2B5EF4-FFF2-40B4-BE49-F238E27FC236}">
                  <a16:creationId xmlns:a16="http://schemas.microsoft.com/office/drawing/2014/main" id="{8B60E7EC-381E-753F-D558-A35BF65B39E2}"/>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0" name="Oval 35">
              <a:extLst>
                <a:ext uri="{FF2B5EF4-FFF2-40B4-BE49-F238E27FC236}">
                  <a16:creationId xmlns:a16="http://schemas.microsoft.com/office/drawing/2014/main" id="{8BFFE7E4-8580-F4D8-0A69-DD53291F785E}"/>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Oval 36">
              <a:extLst>
                <a:ext uri="{FF2B5EF4-FFF2-40B4-BE49-F238E27FC236}">
                  <a16:creationId xmlns:a16="http://schemas.microsoft.com/office/drawing/2014/main" id="{C2C2BAF2-FB12-C264-AF90-01D19FBDF292}"/>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2" name="Oval 37">
              <a:extLst>
                <a:ext uri="{FF2B5EF4-FFF2-40B4-BE49-F238E27FC236}">
                  <a16:creationId xmlns:a16="http://schemas.microsoft.com/office/drawing/2014/main" id="{4F6F75F1-8991-3624-D312-D21834AD18ED}"/>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3" name="Oval 38">
              <a:extLst>
                <a:ext uri="{FF2B5EF4-FFF2-40B4-BE49-F238E27FC236}">
                  <a16:creationId xmlns:a16="http://schemas.microsoft.com/office/drawing/2014/main" id="{D522C628-63C3-21B7-F404-F02BE5AD14D9}"/>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4" name="Oval 39">
              <a:extLst>
                <a:ext uri="{FF2B5EF4-FFF2-40B4-BE49-F238E27FC236}">
                  <a16:creationId xmlns:a16="http://schemas.microsoft.com/office/drawing/2014/main" id="{B5A3962B-7001-ADA5-E5FF-4419A55AF082}"/>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Oval 40">
              <a:extLst>
                <a:ext uri="{FF2B5EF4-FFF2-40B4-BE49-F238E27FC236}">
                  <a16:creationId xmlns:a16="http://schemas.microsoft.com/office/drawing/2014/main" id="{C6851226-A14B-AA68-123D-24C8A678D620}"/>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Oval 5">
              <a:extLst>
                <a:ext uri="{FF2B5EF4-FFF2-40B4-BE49-F238E27FC236}">
                  <a16:creationId xmlns:a16="http://schemas.microsoft.com/office/drawing/2014/main" id="{5283E687-BB1E-BCCC-2457-203BC37932C6}"/>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7" name="Freeform 7">
              <a:extLst>
                <a:ext uri="{FF2B5EF4-FFF2-40B4-BE49-F238E27FC236}">
                  <a16:creationId xmlns:a16="http://schemas.microsoft.com/office/drawing/2014/main" id="{1FB31419-AF47-DC5B-DA59-D40996450E1F}"/>
                </a:ext>
              </a:extLst>
            </p:cNvPr>
            <p:cNvSpPr>
              <a:spLocks noEditPoints="1"/>
            </p:cNvSpPr>
            <p:nvPr/>
          </p:nvSpPr>
          <p:spPr bwMode="auto">
            <a:xfrm>
              <a:off x="5996058" y="2169522"/>
              <a:ext cx="1415709" cy="13252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8" name="Oval 11">
              <a:extLst>
                <a:ext uri="{FF2B5EF4-FFF2-40B4-BE49-F238E27FC236}">
                  <a16:creationId xmlns:a16="http://schemas.microsoft.com/office/drawing/2014/main" id="{AFF0F3A9-C8BD-CE67-DF2F-86DB959E4E6D}"/>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49" name="Freeform 13">
              <a:extLst>
                <a:ext uri="{FF2B5EF4-FFF2-40B4-BE49-F238E27FC236}">
                  <a16:creationId xmlns:a16="http://schemas.microsoft.com/office/drawing/2014/main" id="{55BDF06B-E7C0-F5C7-3A3E-39D2A43D9F16}"/>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0" name="Oval 17">
              <a:extLst>
                <a:ext uri="{FF2B5EF4-FFF2-40B4-BE49-F238E27FC236}">
                  <a16:creationId xmlns:a16="http://schemas.microsoft.com/office/drawing/2014/main" id="{3C61D353-6D9F-A60F-8668-DD8B308CB63E}"/>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1" name="Oval 22">
              <a:extLst>
                <a:ext uri="{FF2B5EF4-FFF2-40B4-BE49-F238E27FC236}">
                  <a16:creationId xmlns:a16="http://schemas.microsoft.com/office/drawing/2014/main" id="{80F61F31-31A9-2E06-254D-C35461DB4EF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2" name="Freeform 24">
              <a:extLst>
                <a:ext uri="{FF2B5EF4-FFF2-40B4-BE49-F238E27FC236}">
                  <a16:creationId xmlns:a16="http://schemas.microsoft.com/office/drawing/2014/main" id="{080186A4-20BB-BDD4-99E6-6CA44F0E08C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3" name="Oval 28">
              <a:extLst>
                <a:ext uri="{FF2B5EF4-FFF2-40B4-BE49-F238E27FC236}">
                  <a16:creationId xmlns:a16="http://schemas.microsoft.com/office/drawing/2014/main" id="{524A55E5-24B5-6236-20C6-2F7D3783E6D5}"/>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54" name="Freeform 86">
              <a:extLst>
                <a:ext uri="{FF2B5EF4-FFF2-40B4-BE49-F238E27FC236}">
                  <a16:creationId xmlns:a16="http://schemas.microsoft.com/office/drawing/2014/main" id="{4490E25B-0D01-507D-9AB0-424133155A1B}"/>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latin typeface="Lato Light" panose="020F0502020204030203" pitchFamily="34" charset="0"/>
              </a:endParaRPr>
            </a:p>
          </p:txBody>
        </p:sp>
        <p:sp>
          <p:nvSpPr>
            <p:cNvPr id="55" name="Freeform 88">
              <a:extLst>
                <a:ext uri="{FF2B5EF4-FFF2-40B4-BE49-F238E27FC236}">
                  <a16:creationId xmlns:a16="http://schemas.microsoft.com/office/drawing/2014/main" id="{D874BEA4-097D-E01C-7E4C-A4B1BAABAC90}"/>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56" name="TextBox 108">
              <a:extLst>
                <a:ext uri="{FF2B5EF4-FFF2-40B4-BE49-F238E27FC236}">
                  <a16:creationId xmlns:a16="http://schemas.microsoft.com/office/drawing/2014/main" id="{49220945-1F04-9AC2-3FC0-241C20367C65}"/>
                </a:ext>
              </a:extLst>
            </p:cNvPr>
            <p:cNvSpPr txBox="1"/>
            <p:nvPr/>
          </p:nvSpPr>
          <p:spPr>
            <a:xfrm>
              <a:off x="4070921" y="3572716"/>
              <a:ext cx="1049849" cy="470611"/>
            </a:xfrm>
            <a:prstGeom prst="rect">
              <a:avLst/>
            </a:prstGeom>
            <a:noFill/>
          </p:spPr>
          <p:txBody>
            <a:bodyPr wrap="none" rtlCol="0" anchor="t" anchorCtr="0">
              <a:spAutoFit/>
            </a:bodyPr>
            <a:lstStyle/>
            <a:p>
              <a:pPr algn="ctr"/>
              <a:r>
                <a:rPr lang="en-GB" sz="1400" b="1" dirty="0">
                  <a:solidFill>
                    <a:srgbClr val="B41F7A"/>
                  </a:solidFill>
                  <a:latin typeface="Calibri" panose="020F0502020204030204" pitchFamily="34" charset="0"/>
                  <a:ea typeface="League Spartan" charset="0"/>
                  <a:cs typeface="Calibri" panose="020F0502020204030204" pitchFamily="34" charset="0"/>
                </a:rPr>
                <a:t>Δημόσιο</a:t>
              </a:r>
            </a:p>
          </p:txBody>
        </p:sp>
        <p:sp>
          <p:nvSpPr>
            <p:cNvPr id="57" name="TextBox 109">
              <a:extLst>
                <a:ext uri="{FF2B5EF4-FFF2-40B4-BE49-F238E27FC236}">
                  <a16:creationId xmlns:a16="http://schemas.microsoft.com/office/drawing/2014/main" id="{D93145CC-47E4-36E6-2481-58CE3DA01EC5}"/>
                </a:ext>
              </a:extLst>
            </p:cNvPr>
            <p:cNvSpPr txBox="1"/>
            <p:nvPr/>
          </p:nvSpPr>
          <p:spPr>
            <a:xfrm>
              <a:off x="6098024" y="2586256"/>
              <a:ext cx="1177350" cy="423549"/>
            </a:xfrm>
            <a:prstGeom prst="rect">
              <a:avLst/>
            </a:prstGeom>
            <a:noFill/>
          </p:spPr>
          <p:txBody>
            <a:bodyPr wrap="none" rtlCol="0" anchor="t" anchorCtr="0">
              <a:spAutoFit/>
            </a:bodyPr>
            <a:lstStyle/>
            <a:p>
              <a:pPr algn="ctr"/>
              <a:r>
                <a:rPr lang="en-GB" sz="1200" b="1" dirty="0">
                  <a:solidFill>
                    <a:srgbClr val="CD6634"/>
                  </a:solidFill>
                  <a:latin typeface="Calibri" panose="020F0502020204030204" pitchFamily="34" charset="0"/>
                  <a:ea typeface="League Spartan" charset="0"/>
                  <a:cs typeface="Calibri" panose="020F0502020204030204" pitchFamily="34" charset="0"/>
                </a:rPr>
                <a:t>Βιομηχανία</a:t>
              </a:r>
            </a:p>
          </p:txBody>
        </p:sp>
        <p:sp>
          <p:nvSpPr>
            <p:cNvPr id="58" name="TextBox 110">
              <a:extLst>
                <a:ext uri="{FF2B5EF4-FFF2-40B4-BE49-F238E27FC236}">
                  <a16:creationId xmlns:a16="http://schemas.microsoft.com/office/drawing/2014/main" id="{359BD4A9-9BC6-2CDC-60D7-FC59B5EC78AD}"/>
                </a:ext>
              </a:extLst>
            </p:cNvPr>
            <p:cNvSpPr txBox="1"/>
            <p:nvPr/>
          </p:nvSpPr>
          <p:spPr>
            <a:xfrm>
              <a:off x="7144990" y="4074445"/>
              <a:ext cx="419729" cy="423549"/>
            </a:xfrm>
            <a:prstGeom prst="rect">
              <a:avLst/>
            </a:prstGeom>
            <a:noFill/>
          </p:spPr>
          <p:txBody>
            <a:bodyPr wrap="none" rtlCol="0" anchor="t" anchorCtr="0">
              <a:spAutoFit/>
            </a:bodyPr>
            <a:lstStyle/>
            <a:p>
              <a:pPr algn="ctr"/>
              <a:r>
                <a:rPr lang="en-GB" sz="1200" b="1" dirty="0">
                  <a:solidFill>
                    <a:srgbClr val="595959"/>
                  </a:solidFill>
                  <a:latin typeface="Calibri" panose="020F0502020204030204" pitchFamily="34" charset="0"/>
                  <a:ea typeface="League Spartan" charset="0"/>
                  <a:cs typeface="Calibri" panose="020F0502020204030204" pitchFamily="34" charset="0"/>
                </a:rPr>
                <a:t>?</a:t>
              </a:r>
            </a:p>
          </p:txBody>
        </p:sp>
      </p:grpSp>
      <p:sp>
        <p:nvSpPr>
          <p:cNvPr id="59" name="TextBox 35">
            <a:extLst>
              <a:ext uri="{FF2B5EF4-FFF2-40B4-BE49-F238E27FC236}">
                <a16:creationId xmlns:a16="http://schemas.microsoft.com/office/drawing/2014/main" id="{91BB80F4-EC78-A7A8-77AB-91CA0CE061E7}"/>
              </a:ext>
            </a:extLst>
          </p:cNvPr>
          <p:cNvSpPr txBox="1"/>
          <p:nvPr/>
        </p:nvSpPr>
        <p:spPr>
          <a:xfrm>
            <a:off x="1905349" y="2524752"/>
            <a:ext cx="5299721" cy="400110"/>
          </a:xfrm>
          <a:prstGeom prst="rect">
            <a:avLst/>
          </a:prstGeom>
          <a:noFill/>
        </p:spPr>
        <p:txBody>
          <a:bodyPr wrap="none" rtlCol="0" anchor="b" anchorCtr="0">
            <a:spAutoFit/>
          </a:bodyPr>
          <a:lstStyle/>
          <a:p>
            <a:r>
              <a:rPr lang="en-GB" sz="2000" b="1" dirty="0">
                <a:solidFill>
                  <a:srgbClr val="595959"/>
                </a:solidFill>
                <a:ea typeface="League Spartan" charset="0"/>
                <a:cs typeface="Poppins" pitchFamily="2" charset="77"/>
              </a:rPr>
              <a:t>1. Χαρτογράφηση των ενδιαφερομένων μερών </a:t>
            </a:r>
          </a:p>
        </p:txBody>
      </p:sp>
      <p:grpSp>
        <p:nvGrpSpPr>
          <p:cNvPr id="60" name="Gruppieren 7">
            <a:extLst>
              <a:ext uri="{FF2B5EF4-FFF2-40B4-BE49-F238E27FC236}">
                <a16:creationId xmlns:a16="http://schemas.microsoft.com/office/drawing/2014/main" id="{7341769E-DAA6-5F35-2DF8-ECEEFA274B72}"/>
              </a:ext>
            </a:extLst>
          </p:cNvPr>
          <p:cNvGrpSpPr>
            <a:grpSpLocks noChangeAspect="1"/>
          </p:cNvGrpSpPr>
          <p:nvPr/>
        </p:nvGrpSpPr>
        <p:grpSpPr>
          <a:xfrm>
            <a:off x="7264713" y="3273360"/>
            <a:ext cx="4303124" cy="3120596"/>
            <a:chOff x="6372288" y="1843583"/>
            <a:chExt cx="5704454" cy="2486321"/>
          </a:xfrm>
        </p:grpSpPr>
        <p:sp>
          <p:nvSpPr>
            <p:cNvPr id="61" name="Freeform 39">
              <a:extLst>
                <a:ext uri="{FF2B5EF4-FFF2-40B4-BE49-F238E27FC236}">
                  <a16:creationId xmlns:a16="http://schemas.microsoft.com/office/drawing/2014/main" id="{D44697AB-9E24-0941-A8CD-D67ED8225250}"/>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2" name="Freeform 13">
              <a:extLst>
                <a:ext uri="{FF2B5EF4-FFF2-40B4-BE49-F238E27FC236}">
                  <a16:creationId xmlns:a16="http://schemas.microsoft.com/office/drawing/2014/main" id="{7790F4EE-8FA9-3375-4B89-8BDD49558E24}"/>
                </a:ext>
              </a:extLst>
            </p:cNvPr>
            <p:cNvSpPr>
              <a:spLocks/>
            </p:cNvSpPr>
            <p:nvPr/>
          </p:nvSpPr>
          <p:spPr bwMode="auto">
            <a:xfrm>
              <a:off x="6729975" y="1855108"/>
              <a:ext cx="270163" cy="774392"/>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3" name="TextBox 39">
              <a:extLst>
                <a:ext uri="{FF2B5EF4-FFF2-40B4-BE49-F238E27FC236}">
                  <a16:creationId xmlns:a16="http://schemas.microsoft.com/office/drawing/2014/main" id="{4148E786-79AC-EFA4-1B70-B69AAF6B574D}"/>
                </a:ext>
              </a:extLst>
            </p:cNvPr>
            <p:cNvSpPr txBox="1"/>
            <p:nvPr/>
          </p:nvSpPr>
          <p:spPr>
            <a:xfrm>
              <a:off x="7187874" y="204239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Σύντομη περιγραφή</a:t>
              </a:r>
            </a:p>
          </p:txBody>
        </p:sp>
        <p:sp>
          <p:nvSpPr>
            <p:cNvPr id="64" name="TextBox 40">
              <a:extLst>
                <a:ext uri="{FF2B5EF4-FFF2-40B4-BE49-F238E27FC236}">
                  <a16:creationId xmlns:a16="http://schemas.microsoft.com/office/drawing/2014/main" id="{0011CA93-ADDF-353B-8B72-04BF30C86D9B}"/>
                </a:ext>
              </a:extLst>
            </p:cNvPr>
            <p:cNvSpPr txBox="1"/>
            <p:nvPr/>
          </p:nvSpPr>
          <p:spPr>
            <a:xfrm>
              <a:off x="7209352" y="1864639"/>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Ενδιαφερόμενος 1</a:t>
              </a:r>
            </a:p>
          </p:txBody>
        </p:sp>
        <p:sp>
          <p:nvSpPr>
            <p:cNvPr id="65" name="Freeform 37">
              <a:extLst>
                <a:ext uri="{FF2B5EF4-FFF2-40B4-BE49-F238E27FC236}">
                  <a16:creationId xmlns:a16="http://schemas.microsoft.com/office/drawing/2014/main" id="{9BC5E916-275C-7C3E-7581-B1CB0A493F66}"/>
                </a:ext>
              </a:extLst>
            </p:cNvPr>
            <p:cNvSpPr>
              <a:spLocks/>
            </p:cNvSpPr>
            <p:nvPr/>
          </p:nvSpPr>
          <p:spPr bwMode="auto">
            <a:xfrm>
              <a:off x="6972834" y="2294203"/>
              <a:ext cx="3559825"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6" name="Freeform 15">
              <a:extLst>
                <a:ext uri="{FF2B5EF4-FFF2-40B4-BE49-F238E27FC236}">
                  <a16:creationId xmlns:a16="http://schemas.microsoft.com/office/drawing/2014/main" id="{C7A2A9C1-6F69-1F8C-F96D-96618532E3EA}"/>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67" name="TextBox 37">
              <a:extLst>
                <a:ext uri="{FF2B5EF4-FFF2-40B4-BE49-F238E27FC236}">
                  <a16:creationId xmlns:a16="http://schemas.microsoft.com/office/drawing/2014/main" id="{505AE4DC-9488-E434-27CD-063A0722DA70}"/>
                </a:ext>
              </a:extLst>
            </p:cNvPr>
            <p:cNvSpPr txBox="1"/>
            <p:nvPr/>
          </p:nvSpPr>
          <p:spPr>
            <a:xfrm>
              <a:off x="7987363" y="2535564"/>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Σύντομη περιγραφή</a:t>
              </a:r>
            </a:p>
          </p:txBody>
        </p:sp>
        <p:sp>
          <p:nvSpPr>
            <p:cNvPr id="68" name="TextBox 38">
              <a:extLst>
                <a:ext uri="{FF2B5EF4-FFF2-40B4-BE49-F238E27FC236}">
                  <a16:creationId xmlns:a16="http://schemas.microsoft.com/office/drawing/2014/main" id="{97FEFD8E-5133-9528-4FE3-1842AD6FD594}"/>
                </a:ext>
              </a:extLst>
            </p:cNvPr>
            <p:cNvSpPr txBox="1"/>
            <p:nvPr/>
          </p:nvSpPr>
          <p:spPr>
            <a:xfrm>
              <a:off x="7962327" y="2351975"/>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Ενδιαφερόμενο μέρος 2</a:t>
              </a:r>
            </a:p>
          </p:txBody>
        </p:sp>
        <p:sp>
          <p:nvSpPr>
            <p:cNvPr id="69" name="Freeform 35">
              <a:extLst>
                <a:ext uri="{FF2B5EF4-FFF2-40B4-BE49-F238E27FC236}">
                  <a16:creationId xmlns:a16="http://schemas.microsoft.com/office/drawing/2014/main" id="{9C3BA1CB-F789-1F00-621B-ED89FCD42CFE}"/>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0" name="Freeform 16">
              <a:extLst>
                <a:ext uri="{FF2B5EF4-FFF2-40B4-BE49-F238E27FC236}">
                  <a16:creationId xmlns:a16="http://schemas.microsoft.com/office/drawing/2014/main" id="{D22EF32E-0311-EC94-7DEF-1D1E4FAC9FEF}"/>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1" name="TextBox 29">
              <a:extLst>
                <a:ext uri="{FF2B5EF4-FFF2-40B4-BE49-F238E27FC236}">
                  <a16:creationId xmlns:a16="http://schemas.microsoft.com/office/drawing/2014/main" id="{DD7F668E-95E4-5576-6C4E-3B5846045C54}"/>
                </a:ext>
              </a:extLst>
            </p:cNvPr>
            <p:cNvSpPr txBox="1"/>
            <p:nvPr/>
          </p:nvSpPr>
          <p:spPr>
            <a:xfrm>
              <a:off x="8715713" y="3044585"/>
              <a:ext cx="2604564"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Σύντομη περιγραφή</a:t>
              </a:r>
            </a:p>
          </p:txBody>
        </p:sp>
        <p:sp>
          <p:nvSpPr>
            <p:cNvPr id="72" name="TextBox 30">
              <a:extLst>
                <a:ext uri="{FF2B5EF4-FFF2-40B4-BE49-F238E27FC236}">
                  <a16:creationId xmlns:a16="http://schemas.microsoft.com/office/drawing/2014/main" id="{9E78AD8A-E94D-A93E-B324-2C4FBC97A2E5}"/>
                </a:ext>
              </a:extLst>
            </p:cNvPr>
            <p:cNvSpPr txBox="1"/>
            <p:nvPr/>
          </p:nvSpPr>
          <p:spPr>
            <a:xfrm>
              <a:off x="8715713" y="2862620"/>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Ενδιαφερόμενος 3</a:t>
              </a:r>
            </a:p>
          </p:txBody>
        </p:sp>
        <p:grpSp>
          <p:nvGrpSpPr>
            <p:cNvPr id="73" name="Gruppieren 6">
              <a:extLst>
                <a:ext uri="{FF2B5EF4-FFF2-40B4-BE49-F238E27FC236}">
                  <a16:creationId xmlns:a16="http://schemas.microsoft.com/office/drawing/2014/main" id="{59C13438-1921-CAB6-D231-FB5A49E2BAFB}"/>
                </a:ext>
              </a:extLst>
            </p:cNvPr>
            <p:cNvGrpSpPr/>
            <p:nvPr/>
          </p:nvGrpSpPr>
          <p:grpSpPr>
            <a:xfrm>
              <a:off x="8497800" y="3359811"/>
              <a:ext cx="3578942" cy="970093"/>
              <a:chOff x="6979340" y="5450343"/>
              <a:chExt cx="3578942" cy="970093"/>
            </a:xfrm>
          </p:grpSpPr>
          <p:sp>
            <p:nvSpPr>
              <p:cNvPr id="74" name="Freeform 16">
                <a:extLst>
                  <a:ext uri="{FF2B5EF4-FFF2-40B4-BE49-F238E27FC236}">
                    <a16:creationId xmlns:a16="http://schemas.microsoft.com/office/drawing/2014/main" id="{4DE06113-E50B-011F-B8C0-0A5636BA047A}"/>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5" name="Freeform 5">
                <a:extLst>
                  <a:ext uri="{FF2B5EF4-FFF2-40B4-BE49-F238E27FC236}">
                    <a16:creationId xmlns:a16="http://schemas.microsoft.com/office/drawing/2014/main" id="{6F7B7188-F3FC-C4DE-CF53-BF3A9AF86983}"/>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6" name="TextBox 27">
                <a:extLst>
                  <a:ext uri="{FF2B5EF4-FFF2-40B4-BE49-F238E27FC236}">
                    <a16:creationId xmlns:a16="http://schemas.microsoft.com/office/drawing/2014/main" id="{9EEB4FA9-F4CE-2DA8-014E-9553E43DD9F4}"/>
                  </a:ext>
                </a:extLst>
              </p:cNvPr>
              <p:cNvSpPr txBox="1"/>
              <p:nvPr/>
            </p:nvSpPr>
            <p:spPr>
              <a:xfrm>
                <a:off x="7885030" y="5750589"/>
                <a:ext cx="2604563" cy="247263"/>
              </a:xfrm>
              <a:prstGeom prst="rect">
                <a:avLst/>
              </a:prstGeom>
              <a:noFill/>
            </p:spPr>
            <p:txBody>
              <a:bodyPr wrap="square" rtlCol="0">
                <a:spAutoFit/>
              </a:bodyPr>
              <a:lstStyle/>
              <a:p>
                <a:pPr>
                  <a:lnSpc>
                    <a:spcPts val="1665"/>
                  </a:lnSpc>
                </a:pPr>
                <a:r>
                  <a:rPr lang="en-GB" sz="1600" dirty="0">
                    <a:solidFill>
                      <a:schemeClr val="bg1"/>
                    </a:solidFill>
                    <a:ea typeface="Lato Light" charset="0"/>
                    <a:cs typeface="Lato Light" charset="0"/>
                  </a:rPr>
                  <a:t>Σύντομη περιγραφή</a:t>
                </a:r>
              </a:p>
            </p:txBody>
          </p:sp>
          <p:sp>
            <p:nvSpPr>
              <p:cNvPr id="77" name="TextBox 28">
                <a:extLst>
                  <a:ext uri="{FF2B5EF4-FFF2-40B4-BE49-F238E27FC236}">
                    <a16:creationId xmlns:a16="http://schemas.microsoft.com/office/drawing/2014/main" id="{3E44D55D-5EA3-7D0C-7201-5533704F4BC9}"/>
                  </a:ext>
                </a:extLst>
              </p:cNvPr>
              <p:cNvSpPr txBox="1"/>
              <p:nvPr/>
            </p:nvSpPr>
            <p:spPr>
              <a:xfrm>
                <a:off x="7862739" y="5570497"/>
                <a:ext cx="1796583" cy="239345"/>
              </a:xfrm>
              <a:prstGeom prst="rect">
                <a:avLst/>
              </a:prstGeom>
              <a:noFill/>
            </p:spPr>
            <p:txBody>
              <a:bodyPr wrap="none" rtlCol="0">
                <a:spAutoFit/>
              </a:bodyPr>
              <a:lstStyle/>
              <a:p>
                <a:pPr>
                  <a:lnSpc>
                    <a:spcPts val="1620"/>
                  </a:lnSpc>
                </a:pPr>
                <a:r>
                  <a:rPr lang="en-GB" sz="1600" b="1" dirty="0">
                    <a:solidFill>
                      <a:schemeClr val="bg1"/>
                    </a:solidFill>
                    <a:ea typeface="Roboto" charset="0"/>
                    <a:cs typeface="Roboto" charset="0"/>
                  </a:rPr>
                  <a:t>Ενδιαφερόμενο μέρος 4</a:t>
                </a:r>
              </a:p>
            </p:txBody>
          </p:sp>
        </p:grpSp>
      </p:grpSp>
      <p:sp>
        <p:nvSpPr>
          <p:cNvPr id="78" name="TextBox 35">
            <a:extLst>
              <a:ext uri="{FF2B5EF4-FFF2-40B4-BE49-F238E27FC236}">
                <a16:creationId xmlns:a16="http://schemas.microsoft.com/office/drawing/2014/main" id="{9FADF874-E959-F2CF-7373-79685B2BEBE3}"/>
              </a:ext>
            </a:extLst>
          </p:cNvPr>
          <p:cNvSpPr txBox="1"/>
          <p:nvPr/>
        </p:nvSpPr>
        <p:spPr>
          <a:xfrm>
            <a:off x="7043294" y="2524752"/>
            <a:ext cx="3103863" cy="400110"/>
          </a:xfrm>
          <a:prstGeom prst="rect">
            <a:avLst/>
          </a:prstGeom>
          <a:noFill/>
        </p:spPr>
        <p:txBody>
          <a:bodyPr wrap="none" rtlCol="0" anchor="b" anchorCtr="0">
            <a:spAutoFit/>
          </a:bodyPr>
          <a:lstStyle/>
          <a:p>
            <a:r>
              <a:rPr lang="en-GB" sz="2000" b="1" dirty="0">
                <a:solidFill>
                  <a:srgbClr val="595959"/>
                </a:solidFill>
                <a:ea typeface="League Spartan" charset="0"/>
                <a:cs typeface="Poppins" pitchFamily="2" charset="77"/>
              </a:rPr>
              <a:t>2. Κάρτες ενδιαφερομένων</a:t>
            </a:r>
          </a:p>
        </p:txBody>
      </p:sp>
    </p:spTree>
    <p:extLst>
      <p:ext uri="{BB962C8B-B14F-4D97-AF65-F5344CB8AC3E}">
        <p14:creationId xmlns:p14="http://schemas.microsoft.com/office/powerpoint/2010/main" val="664611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Ρίξτε μια βαθύτερη ματιά στα ενδιαφερόμενα μέρη σας. Η ανάλυση και η αξιολόγηση χρησιμεύει τόσο για την </a:t>
            </a:r>
            <a:r>
              <a:rPr lang="en-US" dirty="0" err="1"/>
              <a:t>ιεράρχηση </a:t>
            </a:r>
            <a:r>
              <a:rPr lang="en-US" dirty="0"/>
              <a:t>των ενδιαφερόμενων μερών ανάλογα με τη σημασία τους όσο και για τον εντοπισμό εκείνων που θα μπορούσαν δυνητικά να προκαλέσουν τα περισσότερα προβλήματα.</a:t>
            </a:r>
          </a:p>
          <a:p>
            <a:pPr marL="12700" indent="-12700"/>
            <a:endParaRPr lang="en-US" dirty="0"/>
          </a:p>
          <a:p>
            <a:pPr marL="12700" indent="-12700"/>
            <a:endParaRPr lang="en-US" dirty="0"/>
          </a:p>
          <a:p>
            <a:pPr marL="12700" indent="-12700"/>
            <a:r>
              <a:rPr lang="en-US" b="1" dirty="0">
                <a:solidFill>
                  <a:srgbClr val="F16924"/>
                </a:solidFill>
              </a:rPr>
              <a:t>Οι ακόλουθες ερωτήσεις είναι χρήσιμες:</a:t>
            </a:r>
          </a:p>
          <a:p>
            <a:pPr marL="12700" indent="-12700"/>
            <a:endParaRPr lang="en-US" b="1" dirty="0"/>
          </a:p>
          <a:p>
            <a:pPr marL="342900" indent="-342900">
              <a:buClr>
                <a:srgbClr val="F16924"/>
              </a:buClr>
              <a:buFont typeface="Arial" panose="020B0604020202020204" pitchFamily="34" charset="0"/>
              <a:buChar char="•"/>
            </a:pPr>
            <a:r>
              <a:rPr lang="en-US" dirty="0"/>
              <a:t>Ποιες ακριβώς είναι οι επιρροές των αντίστοιχων ενδιαφερομένων;</a:t>
            </a:r>
          </a:p>
          <a:p>
            <a:pPr marL="342900" indent="-342900">
              <a:buClr>
                <a:srgbClr val="F16924"/>
              </a:buClr>
              <a:buFont typeface="Arial" panose="020B0604020202020204" pitchFamily="34" charset="0"/>
              <a:buChar char="•"/>
            </a:pPr>
            <a:r>
              <a:rPr lang="en-US" dirty="0"/>
              <a:t>Πόσο ισχυρές είναι οι επιρροές; </a:t>
            </a:r>
          </a:p>
          <a:p>
            <a:pPr marL="342900" indent="-342900">
              <a:buClr>
                <a:srgbClr val="F16924"/>
              </a:buClr>
              <a:buFont typeface="Arial" panose="020B0604020202020204" pitchFamily="34" charset="0"/>
              <a:buChar char="•"/>
            </a:pPr>
            <a:r>
              <a:rPr lang="en-US" dirty="0"/>
              <a:t>Μπορούν να ωφελήσουν ή να βλάψουν την εταιρεία μου;</a:t>
            </a:r>
          </a:p>
          <a:p>
            <a:pPr marL="342900" indent="-342900">
              <a:buClr>
                <a:srgbClr val="F16924"/>
              </a:buClr>
              <a:buFont typeface="Arial" panose="020B0604020202020204" pitchFamily="34" charset="0"/>
              <a:buChar char="•"/>
            </a:pPr>
            <a:r>
              <a:rPr lang="en-US" dirty="0"/>
              <a:t>Είναι θετική ή αρνητική η στάση των ενδιαφερόμενων μερών απέναντι στην εταιρεία μου;</a:t>
            </a:r>
          </a:p>
          <a:p>
            <a:pPr marL="342900" indent="-342900">
              <a:buClr>
                <a:srgbClr val="F16924"/>
              </a:buClr>
              <a:buFont typeface="Arial" panose="020B0604020202020204" pitchFamily="34" charset="0"/>
              <a:buChar char="•"/>
            </a:pPr>
            <a:r>
              <a:rPr lang="en-US" dirty="0"/>
              <a:t>Ποια δύναμη έχουν οι ενδιαφερόμενοι φορείς να επηρεάσουν την εταιρεία μου;</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r>
              <a:rPr lang="en-US" dirty="0"/>
              <a:t>Ανάλυ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306561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r>
              <a:rPr lang="en-US" dirty="0"/>
              <a:t>Ανάλυ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8ACF6A2A-4151-AF9E-355C-BCB134CCA02B}"/>
              </a:ext>
            </a:extLst>
          </p:cNvPr>
          <p:cNvGraphicFramePr>
            <a:graphicFrameLocks noGrp="1"/>
          </p:cNvGraphicFramePr>
          <p:nvPr>
            <p:extLst>
              <p:ext uri="{D42A27DB-BD31-4B8C-83A1-F6EECF244321}">
                <p14:modId xmlns:p14="http://schemas.microsoft.com/office/powerpoint/2010/main" val="1441317732"/>
              </p:ext>
            </p:extLst>
          </p:nvPr>
        </p:nvGraphicFramePr>
        <p:xfrm>
          <a:off x="2114548" y="2014219"/>
          <a:ext cx="9597552" cy="4361411"/>
        </p:xfrm>
        <a:graphic>
          <a:graphicData uri="http://schemas.openxmlformats.org/drawingml/2006/table">
            <a:tbl>
              <a:tblPr firstRow="1" bandRow="1">
                <a:tableStyleId>{7DF18680-E054-41AD-8BC1-D1AEF772440D}</a:tableStyleId>
              </a:tblPr>
              <a:tblGrid>
                <a:gridCol w="1734230">
                  <a:extLst>
                    <a:ext uri="{9D8B030D-6E8A-4147-A177-3AD203B41FA5}">
                      <a16:colId xmlns:a16="http://schemas.microsoft.com/office/drawing/2014/main" val="2661440363"/>
                    </a:ext>
                  </a:extLst>
                </a:gridCol>
                <a:gridCol w="4867205">
                  <a:extLst>
                    <a:ext uri="{9D8B030D-6E8A-4147-A177-3AD203B41FA5}">
                      <a16:colId xmlns:a16="http://schemas.microsoft.com/office/drawing/2014/main" val="1978240280"/>
                    </a:ext>
                  </a:extLst>
                </a:gridCol>
                <a:gridCol w="2996117">
                  <a:extLst>
                    <a:ext uri="{9D8B030D-6E8A-4147-A177-3AD203B41FA5}">
                      <a16:colId xmlns:a16="http://schemas.microsoft.com/office/drawing/2014/main" val="2176638843"/>
                    </a:ext>
                  </a:extLst>
                </a:gridCol>
              </a:tblGrid>
              <a:tr h="503959">
                <a:tc>
                  <a:txBody>
                    <a:bodyPr/>
                    <a:lstStyle/>
                    <a:p>
                      <a:r>
                        <a:rPr lang="en-GB" sz="2000" dirty="0"/>
                        <a:t>ΚΡΙΤΗΡΙΑ</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ΠΕΡΙΓΡΑΦΗ</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ΠΙΘΑΝΉ ΑΞΙΟΛΌΓΗΣΗ</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839932">
                <a:tc>
                  <a:txBody>
                    <a:bodyPr/>
                    <a:lstStyle/>
                    <a:p>
                      <a:r>
                        <a:rPr lang="en-GB" sz="2000" b="1" dirty="0">
                          <a:solidFill>
                            <a:srgbClr val="595959"/>
                          </a:solidFill>
                        </a:rPr>
                        <a:t>Επιρροή / Δύναμη</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Πόσο μεγάλη είναι η ικανότητα του ενδιαφερόμενου μέρους να ασκεί επιρροή στην εταιρεία;</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χαμηλή, μεσαία, υψηλ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839932">
                <a:tc>
                  <a:txBody>
                    <a:bodyPr/>
                    <a:lstStyle/>
                    <a:p>
                      <a:r>
                        <a:rPr lang="en-GB" sz="2000" b="1" dirty="0">
                          <a:solidFill>
                            <a:srgbClr val="595959"/>
                          </a:solidFill>
                        </a:rPr>
                        <a:t>Στάση</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Είναι θετική ή αρνητική η στάση του ενδιαφερόμενου μέρους απέναντι στην εταιρεία και τις επιπτώσεις τη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αρνητικό, ουδέτερο, θετικ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r h="839932">
                <a:tc>
                  <a:txBody>
                    <a:bodyPr/>
                    <a:lstStyle/>
                    <a:p>
                      <a:r>
                        <a:rPr lang="en-GB" sz="2000" b="1" dirty="0">
                          <a:solidFill>
                            <a:srgbClr val="595959"/>
                          </a:solidFill>
                        </a:rPr>
                        <a:t>Ανησυχία / Ενδιαφέρο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Σε ποιο βαθμό ο ενδιαφερόμενος επηρεάζεται από τις επιπτώσεις της εταιρεία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χαμηλή, μεσαία, υψηλ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8378937"/>
                  </a:ext>
                </a:extLst>
              </a:tr>
              <a:tr h="839932">
                <a:tc>
                  <a:txBody>
                    <a:bodyPr/>
                    <a:lstStyle/>
                    <a:p>
                      <a:r>
                        <a:rPr lang="en-GB" sz="2000" b="1" dirty="0">
                          <a:solidFill>
                            <a:srgbClr val="595959"/>
                          </a:solidFill>
                        </a:rPr>
                        <a:t>Δυνατότητα σύγκρουση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Ποια είναι η πιθανότητα ο ενδιαφερόμενος να προκαλέσει προβλήματα στην εταιρεία;</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rgbClr val="595959"/>
                          </a:solidFill>
                        </a:rPr>
                        <a:t>χαμηλή, μεσαία, υψηλ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405224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r>
              <a:rPr lang="en-US" dirty="0"/>
              <a:t>Ανάλυ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37" name="Tabelle 5">
            <a:extLst>
              <a:ext uri="{FF2B5EF4-FFF2-40B4-BE49-F238E27FC236}">
                <a16:creationId xmlns:a16="http://schemas.microsoft.com/office/drawing/2014/main" id="{D836E7D4-13F0-9471-49A2-4FE3309352EA}"/>
              </a:ext>
            </a:extLst>
          </p:cNvPr>
          <p:cNvGraphicFramePr>
            <a:graphicFrameLocks noGrp="1"/>
          </p:cNvGraphicFramePr>
          <p:nvPr>
            <p:extLst>
              <p:ext uri="{D42A27DB-BD31-4B8C-83A1-F6EECF244321}">
                <p14:modId xmlns:p14="http://schemas.microsoft.com/office/powerpoint/2010/main" val="1507943526"/>
              </p:ext>
            </p:extLst>
          </p:nvPr>
        </p:nvGraphicFramePr>
        <p:xfrm>
          <a:off x="2114549" y="3073192"/>
          <a:ext cx="9772651" cy="2533608"/>
        </p:xfrm>
        <a:graphic>
          <a:graphicData uri="http://schemas.openxmlformats.org/drawingml/2006/table">
            <a:tbl>
              <a:tblPr firstRow="1" bandRow="1">
                <a:tableStyleId>{7DF18680-E054-41AD-8BC1-D1AEF772440D}</a:tableStyleId>
              </a:tblPr>
              <a:tblGrid>
                <a:gridCol w="755364">
                  <a:extLst>
                    <a:ext uri="{9D8B030D-6E8A-4147-A177-3AD203B41FA5}">
                      <a16:colId xmlns:a16="http://schemas.microsoft.com/office/drawing/2014/main" val="2661440363"/>
                    </a:ext>
                  </a:extLst>
                </a:gridCol>
                <a:gridCol w="1760453">
                  <a:extLst>
                    <a:ext uri="{9D8B030D-6E8A-4147-A177-3AD203B41FA5}">
                      <a16:colId xmlns:a16="http://schemas.microsoft.com/office/drawing/2014/main" val="1978240280"/>
                    </a:ext>
                  </a:extLst>
                </a:gridCol>
                <a:gridCol w="2699927">
                  <a:extLst>
                    <a:ext uri="{9D8B030D-6E8A-4147-A177-3AD203B41FA5}">
                      <a16:colId xmlns:a16="http://schemas.microsoft.com/office/drawing/2014/main" val="2176638843"/>
                    </a:ext>
                  </a:extLst>
                </a:gridCol>
                <a:gridCol w="629701">
                  <a:extLst>
                    <a:ext uri="{9D8B030D-6E8A-4147-A177-3AD203B41FA5}">
                      <a16:colId xmlns:a16="http://schemas.microsoft.com/office/drawing/2014/main" val="3294946335"/>
                    </a:ext>
                  </a:extLst>
                </a:gridCol>
                <a:gridCol w="629701">
                  <a:extLst>
                    <a:ext uri="{9D8B030D-6E8A-4147-A177-3AD203B41FA5}">
                      <a16:colId xmlns:a16="http://schemas.microsoft.com/office/drawing/2014/main" val="2823981131"/>
                    </a:ext>
                  </a:extLst>
                </a:gridCol>
                <a:gridCol w="629701">
                  <a:extLst>
                    <a:ext uri="{9D8B030D-6E8A-4147-A177-3AD203B41FA5}">
                      <a16:colId xmlns:a16="http://schemas.microsoft.com/office/drawing/2014/main" val="3992718697"/>
                    </a:ext>
                  </a:extLst>
                </a:gridCol>
                <a:gridCol w="2667804">
                  <a:extLst>
                    <a:ext uri="{9D8B030D-6E8A-4147-A177-3AD203B41FA5}">
                      <a16:colId xmlns:a16="http://schemas.microsoft.com/office/drawing/2014/main" val="1748816123"/>
                    </a:ext>
                  </a:extLst>
                </a:gridCol>
              </a:tblGrid>
              <a:tr h="1311758">
                <a:tc>
                  <a:txBody>
                    <a:bodyPr/>
                    <a:lstStyle/>
                    <a:p>
                      <a:r>
                        <a:rPr lang="en-GB" sz="2000" b="1" dirty="0">
                          <a:solidFill>
                            <a:schemeClr val="bg1"/>
                          </a:solidFill>
                        </a:rPr>
                        <a:t>NR.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STAKEHOLD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ΕΝΔΙΑΦΕΡΟΝΤΑ</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ΣΤΑΣΗ</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ΕΠΙΔΡΑΣΗ</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ΕΠΗΡΕΑΖΌΜΕΝΟ</a:t>
                      </a:r>
                    </a:p>
                  </a:txBody>
                  <a:tcPr vert="vert27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b="1" dirty="0">
                          <a:solidFill>
                            <a:schemeClr val="bg1"/>
                          </a:solidFill>
                        </a:rPr>
                        <a:t>ΠΑΡΑΤΗΡΗΣΕΙΣ</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821656"/>
                  </a:ext>
                </a:extLst>
              </a:tr>
              <a:tr h="610925">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778539"/>
                  </a:ext>
                </a:extLst>
              </a:tr>
            </a:tbl>
          </a:graphicData>
        </a:graphic>
      </p:graphicFrame>
      <p:sp>
        <p:nvSpPr>
          <p:cNvPr id="38" name="Subtitle 2">
            <a:extLst>
              <a:ext uri="{FF2B5EF4-FFF2-40B4-BE49-F238E27FC236}">
                <a16:creationId xmlns:a16="http://schemas.microsoft.com/office/drawing/2014/main" id="{148317C0-8CCC-0387-EFB2-A2C85DC74064}"/>
              </a:ext>
            </a:extLst>
          </p:cNvPr>
          <p:cNvSpPr txBox="1">
            <a:spLocks/>
          </p:cNvSpPr>
          <p:nvPr/>
        </p:nvSpPr>
        <p:spPr>
          <a:xfrm>
            <a:off x="2207768" y="2039998"/>
            <a:ext cx="9466781" cy="6505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0"/>
              </a:spcBef>
            </a:pPr>
            <a:r>
              <a:rPr lang="en-GB" sz="2200" dirty="0">
                <a:solidFill>
                  <a:srgbClr val="595959"/>
                </a:solidFill>
                <a:latin typeface="+mn-lt"/>
                <a:ea typeface="Open Sans Light" panose="020B0306030504020204" pitchFamily="34" charset="0"/>
                <a:cs typeface="Open Sans Light" panose="020B0306030504020204" pitchFamily="34" charset="0"/>
              </a:rPr>
              <a:t>Είναι πολύ χρήσιμο να παρουσιάζονται τα αποτελέσματα της ανάλυσης σε πίνακες ή γραφικά με σαφήνεια. </a:t>
            </a:r>
          </a:p>
        </p:txBody>
      </p:sp>
    </p:spTree>
    <p:extLst>
      <p:ext uri="{BB962C8B-B14F-4D97-AF65-F5344CB8AC3E}">
        <p14:creationId xmlns:p14="http://schemas.microsoft.com/office/powerpoint/2010/main" val="787232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fontScale="92500" lnSpcReduction="20000"/>
          </a:bodyPr>
          <a:lstStyle/>
          <a:p>
            <a:r>
              <a:rPr lang="en-US" dirty="0"/>
              <a:t>Ανάλυ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2</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B84B6A19-E557-85B2-7523-0B6D7C4C64D3}"/>
              </a:ext>
            </a:extLst>
          </p:cNvPr>
          <p:cNvGrpSpPr>
            <a:grpSpLocks noChangeAspect="1"/>
          </p:cNvGrpSpPr>
          <p:nvPr/>
        </p:nvGrpSpPr>
        <p:grpSpPr>
          <a:xfrm>
            <a:off x="2114549" y="1657350"/>
            <a:ext cx="7969059" cy="4389522"/>
            <a:chOff x="1039852" y="364387"/>
            <a:chExt cx="10294883" cy="5670628"/>
          </a:xfrm>
        </p:grpSpPr>
        <p:sp>
          <p:nvSpPr>
            <p:cNvPr id="3" name="Rectangle 3">
              <a:extLst>
                <a:ext uri="{FF2B5EF4-FFF2-40B4-BE49-F238E27FC236}">
                  <a16:creationId xmlns:a16="http://schemas.microsoft.com/office/drawing/2014/main" id="{FF76BBBD-52AC-1969-C818-5E560CA9567B}"/>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5" name="Rectangle 4">
              <a:extLst>
                <a:ext uri="{FF2B5EF4-FFF2-40B4-BE49-F238E27FC236}">
                  <a16:creationId xmlns:a16="http://schemas.microsoft.com/office/drawing/2014/main" id="{7C776BB0-E289-911C-7A96-73999C2174DD}"/>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6" name="Rectangle 5">
              <a:extLst>
                <a:ext uri="{FF2B5EF4-FFF2-40B4-BE49-F238E27FC236}">
                  <a16:creationId xmlns:a16="http://schemas.microsoft.com/office/drawing/2014/main" id="{D1B6A90F-60DD-70FD-FDF1-25C8009E5C76}"/>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 name="Rectangle 6">
              <a:extLst>
                <a:ext uri="{FF2B5EF4-FFF2-40B4-BE49-F238E27FC236}">
                  <a16:creationId xmlns:a16="http://schemas.microsoft.com/office/drawing/2014/main" id="{B5963FA8-C937-08B4-815E-C74057CA258E}"/>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 name="Rectangle 9">
              <a:extLst>
                <a:ext uri="{FF2B5EF4-FFF2-40B4-BE49-F238E27FC236}">
                  <a16:creationId xmlns:a16="http://schemas.microsoft.com/office/drawing/2014/main" id="{4D3EBC05-8548-A83D-2367-F2DEB33E8382}"/>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 name="Rectangle 13">
              <a:extLst>
                <a:ext uri="{FF2B5EF4-FFF2-40B4-BE49-F238E27FC236}">
                  <a16:creationId xmlns:a16="http://schemas.microsoft.com/office/drawing/2014/main" id="{B7AB05E8-5814-C5AA-F522-30A6F93D5AE4}"/>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0" name="Rectangle 14">
              <a:extLst>
                <a:ext uri="{FF2B5EF4-FFF2-40B4-BE49-F238E27FC236}">
                  <a16:creationId xmlns:a16="http://schemas.microsoft.com/office/drawing/2014/main" id="{84BE1FBB-299B-9102-979F-B9ECA06005B5}"/>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11" name="Rectangle 21">
              <a:extLst>
                <a:ext uri="{FF2B5EF4-FFF2-40B4-BE49-F238E27FC236}">
                  <a16:creationId xmlns:a16="http://schemas.microsoft.com/office/drawing/2014/main" id="{0169206D-79CF-807C-96C9-B1D6A1550E6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15" name="TextBox 22">
              <a:extLst>
                <a:ext uri="{FF2B5EF4-FFF2-40B4-BE49-F238E27FC236}">
                  <a16:creationId xmlns:a16="http://schemas.microsoft.com/office/drawing/2014/main" id="{E7F81C39-89B0-D905-E167-CE15C4A92680}"/>
                </a:ext>
              </a:extLst>
            </p:cNvPr>
            <p:cNvSpPr txBox="1"/>
            <p:nvPr/>
          </p:nvSpPr>
          <p:spPr>
            <a:xfrm>
              <a:off x="2751823" y="1168049"/>
              <a:ext cx="762901"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ΧΑΜΗΛΗ</a:t>
              </a:r>
            </a:p>
          </p:txBody>
        </p:sp>
        <p:sp>
          <p:nvSpPr>
            <p:cNvPr id="16" name="TextBox 23">
              <a:extLst>
                <a:ext uri="{FF2B5EF4-FFF2-40B4-BE49-F238E27FC236}">
                  <a16:creationId xmlns:a16="http://schemas.microsoft.com/office/drawing/2014/main" id="{A4DA108F-229F-6F97-1047-46FCE9C3D3C3}"/>
                </a:ext>
              </a:extLst>
            </p:cNvPr>
            <p:cNvSpPr txBox="1"/>
            <p:nvPr/>
          </p:nvSpPr>
          <p:spPr>
            <a:xfrm>
              <a:off x="5852761" y="1168049"/>
              <a:ext cx="1116604" cy="437363"/>
            </a:xfrm>
            <a:prstGeom prst="rect">
              <a:avLst/>
            </a:prstGeom>
            <a:noFill/>
          </p:spPr>
          <p:txBody>
            <a:bodyPr wrap="none" rtlCol="0" anchor="ctr" anchorCtr="0">
              <a:spAutoFit/>
            </a:bodyPr>
            <a:lstStyle/>
            <a:p>
              <a:pPr algn="ctr"/>
              <a:r>
                <a:rPr lang="el-GR" sz="1600" b="1" dirty="0">
                  <a:solidFill>
                    <a:schemeClr val="bg1"/>
                  </a:solidFill>
                  <a:latin typeface="Calibri" panose="020F0502020204030204" pitchFamily="34" charset="0"/>
                  <a:ea typeface="League Spartan" charset="0"/>
                  <a:cs typeface="Calibri" panose="020F0502020204030204" pitchFamily="34" charset="0"/>
                </a:rPr>
                <a:t>ΜΕΣΑΙΑ</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17" name="TextBox 24">
              <a:extLst>
                <a:ext uri="{FF2B5EF4-FFF2-40B4-BE49-F238E27FC236}">
                  <a16:creationId xmlns:a16="http://schemas.microsoft.com/office/drawing/2014/main" id="{52431E5D-A801-A910-0AAD-D691B0B40E7A}"/>
                </a:ext>
              </a:extLst>
            </p:cNvPr>
            <p:cNvSpPr txBox="1"/>
            <p:nvPr/>
          </p:nvSpPr>
          <p:spPr>
            <a:xfrm rot="16200000">
              <a:off x="726125" y="2135939"/>
              <a:ext cx="1083468" cy="437363"/>
            </a:xfrm>
            <a:prstGeom prst="rect">
              <a:avLst/>
            </a:prstGeom>
            <a:noFill/>
          </p:spPr>
          <p:txBody>
            <a:bodyPr wrap="none" rtlCol="0" anchor="ctr" anchorCtr="0">
              <a:spAutoFit/>
            </a:bodyPr>
            <a:lstStyle/>
            <a:p>
              <a:pPr algn="ctr"/>
              <a:r>
                <a:rPr lang="el-GR" sz="1600" b="1" dirty="0">
                  <a:solidFill>
                    <a:schemeClr val="bg1"/>
                  </a:solidFill>
                  <a:latin typeface="Calibri" panose="020F0502020204030204" pitchFamily="34" charset="0"/>
                  <a:ea typeface="League Spartan" charset="0"/>
                  <a:cs typeface="Calibri" panose="020F0502020204030204" pitchFamily="34" charset="0"/>
                </a:rPr>
                <a:t>ΥΨΗΛ</a:t>
              </a:r>
              <a:r>
                <a:rPr lang="en-GB" sz="1600" b="1" dirty="0">
                  <a:solidFill>
                    <a:schemeClr val="bg1"/>
                  </a:solidFill>
                  <a:latin typeface="Calibri" panose="020F0502020204030204" pitchFamily="34" charset="0"/>
                  <a:ea typeface="League Spartan" charset="0"/>
                  <a:cs typeface="Calibri" panose="020F0502020204030204" pitchFamily="34" charset="0"/>
                </a:rPr>
                <a:t>H</a:t>
              </a:r>
            </a:p>
          </p:txBody>
        </p:sp>
        <p:sp>
          <p:nvSpPr>
            <p:cNvPr id="18" name="TextBox 25">
              <a:extLst>
                <a:ext uri="{FF2B5EF4-FFF2-40B4-BE49-F238E27FC236}">
                  <a16:creationId xmlns:a16="http://schemas.microsoft.com/office/drawing/2014/main" id="{1277B6A4-1CBA-4D04-2626-8429A55C519A}"/>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l-GR" sz="1600" b="1" dirty="0">
                  <a:solidFill>
                    <a:schemeClr val="bg1"/>
                  </a:solidFill>
                  <a:latin typeface="Calibri" panose="020F0502020204030204" pitchFamily="34" charset="0"/>
                  <a:ea typeface="League Spartan" charset="0"/>
                  <a:cs typeface="Calibri" panose="020F0502020204030204" pitchFamily="34" charset="0"/>
                </a:rPr>
                <a:t>ΜΕΣΑΙΑ</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19" name="Rectangle 9">
              <a:extLst>
                <a:ext uri="{FF2B5EF4-FFF2-40B4-BE49-F238E27FC236}">
                  <a16:creationId xmlns:a16="http://schemas.microsoft.com/office/drawing/2014/main" id="{92FC1BDE-D632-B43F-95F7-E0F7912E0143}"/>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0" name="Rectangle 13">
              <a:extLst>
                <a:ext uri="{FF2B5EF4-FFF2-40B4-BE49-F238E27FC236}">
                  <a16:creationId xmlns:a16="http://schemas.microsoft.com/office/drawing/2014/main" id="{9A75FE68-2A1D-2229-BE2F-BD59BEA770BA}"/>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1" name="Rectangle 14">
              <a:extLst>
                <a:ext uri="{FF2B5EF4-FFF2-40B4-BE49-F238E27FC236}">
                  <a16:creationId xmlns:a16="http://schemas.microsoft.com/office/drawing/2014/main" id="{4904D132-D524-5FD5-B916-9F1C43F9FAE8}"/>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TextBox 23">
              <a:extLst>
                <a:ext uri="{FF2B5EF4-FFF2-40B4-BE49-F238E27FC236}">
                  <a16:creationId xmlns:a16="http://schemas.microsoft.com/office/drawing/2014/main" id="{09750FCC-3B6A-079D-C3B5-6DB5BD6ED352}"/>
                </a:ext>
              </a:extLst>
            </p:cNvPr>
            <p:cNvSpPr txBox="1"/>
            <p:nvPr/>
          </p:nvSpPr>
          <p:spPr>
            <a:xfrm>
              <a:off x="9153813" y="1168049"/>
              <a:ext cx="1083469" cy="437363"/>
            </a:xfrm>
            <a:prstGeom prst="rect">
              <a:avLst/>
            </a:prstGeom>
            <a:noFill/>
          </p:spPr>
          <p:txBody>
            <a:bodyPr wrap="none" rtlCol="0" anchor="ctr" anchorCtr="0">
              <a:spAutoFit/>
            </a:bodyPr>
            <a:lstStyle/>
            <a:p>
              <a:pPr algn="ctr"/>
              <a:r>
                <a:rPr lang="el-GR" sz="1600" b="1" dirty="0">
                  <a:solidFill>
                    <a:schemeClr val="bg1"/>
                  </a:solidFill>
                  <a:latin typeface="Calibri" panose="020F0502020204030204" pitchFamily="34" charset="0"/>
                  <a:ea typeface="League Spartan" charset="0"/>
                  <a:cs typeface="Calibri" panose="020F0502020204030204" pitchFamily="34" charset="0"/>
                </a:rPr>
                <a:t>ΥΨΗΛΗ</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23" name="Rectangle 4">
              <a:extLst>
                <a:ext uri="{FF2B5EF4-FFF2-40B4-BE49-F238E27FC236}">
                  <a16:creationId xmlns:a16="http://schemas.microsoft.com/office/drawing/2014/main" id="{C8DC8D7B-0304-4FB8-0D7E-C18083970CEE}"/>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4" name="Rectangle 6">
              <a:extLst>
                <a:ext uri="{FF2B5EF4-FFF2-40B4-BE49-F238E27FC236}">
                  <a16:creationId xmlns:a16="http://schemas.microsoft.com/office/drawing/2014/main" id="{BE637F43-1E9B-A87C-34ED-0E5E6A022059}"/>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id="{4A888BF2-C099-2B30-79A2-65F0963B3507}"/>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6" name="TextBox 25">
              <a:extLst>
                <a:ext uri="{FF2B5EF4-FFF2-40B4-BE49-F238E27FC236}">
                  <a16:creationId xmlns:a16="http://schemas.microsoft.com/office/drawing/2014/main" id="{C0708345-76C7-488A-C2B7-7077FCE1CE48}"/>
                </a:ext>
              </a:extLst>
            </p:cNvPr>
            <p:cNvSpPr txBox="1"/>
            <p:nvPr/>
          </p:nvSpPr>
          <p:spPr>
            <a:xfrm rot="16200000">
              <a:off x="885221" y="5079338"/>
              <a:ext cx="762900"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ΧΑΜΗΛΗ</a:t>
              </a:r>
            </a:p>
          </p:txBody>
        </p:sp>
        <p:sp>
          <p:nvSpPr>
            <p:cNvPr id="27" name="Rectangle 13">
              <a:extLst>
                <a:ext uri="{FF2B5EF4-FFF2-40B4-BE49-F238E27FC236}">
                  <a16:creationId xmlns:a16="http://schemas.microsoft.com/office/drawing/2014/main" id="{C90DFC19-4879-E48E-688C-91BBC63720BA}"/>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8" name="TextBox 35">
              <a:extLst>
                <a:ext uri="{FF2B5EF4-FFF2-40B4-BE49-F238E27FC236}">
                  <a16:creationId xmlns:a16="http://schemas.microsoft.com/office/drawing/2014/main" id="{71A2F8C7-436A-F4CF-15D0-E38CC729762A}"/>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Επιρροή</a:t>
              </a:r>
            </a:p>
          </p:txBody>
        </p:sp>
        <p:sp>
          <p:nvSpPr>
            <p:cNvPr id="30" name="Ellipse 48">
              <a:extLst>
                <a:ext uri="{FF2B5EF4-FFF2-40B4-BE49-F238E27FC236}">
                  <a16:creationId xmlns:a16="http://schemas.microsoft.com/office/drawing/2014/main" id="{0F972305-6E0F-7C04-5E21-E55B1BAB6F9B}"/>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31" name="Ellipse 50">
              <a:extLst>
                <a:ext uri="{FF2B5EF4-FFF2-40B4-BE49-F238E27FC236}">
                  <a16:creationId xmlns:a16="http://schemas.microsoft.com/office/drawing/2014/main" id="{9F6A6E24-B86E-3999-D7A7-7548A771B4DE}"/>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32" name="Ellipse 51">
              <a:extLst>
                <a:ext uri="{FF2B5EF4-FFF2-40B4-BE49-F238E27FC236}">
                  <a16:creationId xmlns:a16="http://schemas.microsoft.com/office/drawing/2014/main" id="{443CB680-287B-E0BB-4AEF-1400D50C79C2}"/>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33" name="Ellipse 55">
              <a:extLst>
                <a:ext uri="{FF2B5EF4-FFF2-40B4-BE49-F238E27FC236}">
                  <a16:creationId xmlns:a16="http://schemas.microsoft.com/office/drawing/2014/main" id="{138A8805-7E68-4532-0A60-C757B877C7F4}"/>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34" name="Ellipse 56">
              <a:extLst>
                <a:ext uri="{FF2B5EF4-FFF2-40B4-BE49-F238E27FC236}">
                  <a16:creationId xmlns:a16="http://schemas.microsoft.com/office/drawing/2014/main" id="{364D2B65-F10D-1C2A-EE75-8AB016EEE02F}"/>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35" name="Ellipse 57">
              <a:extLst>
                <a:ext uri="{FF2B5EF4-FFF2-40B4-BE49-F238E27FC236}">
                  <a16:creationId xmlns:a16="http://schemas.microsoft.com/office/drawing/2014/main" id="{8BA2D033-B878-E5E8-E44F-31C70CE34214}"/>
                </a:ext>
              </a:extLst>
            </p:cNvPr>
            <p:cNvSpPr/>
            <p:nvPr/>
          </p:nvSpPr>
          <p:spPr>
            <a:xfrm>
              <a:off x="8207282" y="469527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36" name="Ellipse 58">
              <a:extLst>
                <a:ext uri="{FF2B5EF4-FFF2-40B4-BE49-F238E27FC236}">
                  <a16:creationId xmlns:a16="http://schemas.microsoft.com/office/drawing/2014/main" id="{44B19787-1580-8021-6DD1-870D10E09E26}"/>
                </a:ext>
              </a:extLst>
            </p:cNvPr>
            <p:cNvSpPr/>
            <p:nvPr/>
          </p:nvSpPr>
          <p:spPr>
            <a:xfrm>
              <a:off x="5845199" y="463712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Tree>
    <p:extLst>
      <p:ext uri="{BB962C8B-B14F-4D97-AF65-F5344CB8AC3E}">
        <p14:creationId xmlns:p14="http://schemas.microsoft.com/office/powerpoint/2010/main" val="3196861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8" y="2114549"/>
            <a:ext cx="9201150" cy="4614864"/>
          </a:xfrm>
        </p:spPr>
        <p:txBody>
          <a:bodyPr>
            <a:normAutofit/>
          </a:bodyPr>
          <a:lstStyle/>
          <a:p>
            <a:pPr marL="12700" indent="-12700"/>
            <a:r>
              <a:rPr lang="en-US" dirty="0"/>
              <a:t>Σε αυτό το 3ο βήμα, είναι σημαντικό να καθοριστούν τα κατάλληλα μέτρα για την ενίσχυση της θετικής στάσης των ενδιαφερομένων μερών και τη μείωση της επιρροής των αρνητικά σκεπτόμενων και ισχυρών ενδιαφερομένων μερών. </a:t>
            </a:r>
          </a:p>
          <a:p>
            <a:pPr marL="12700" indent="-12700"/>
            <a:endParaRPr lang="en-US" dirty="0"/>
          </a:p>
          <a:p>
            <a:pPr marL="12700" indent="-12700"/>
            <a:r>
              <a:rPr lang="en-US" b="1" dirty="0">
                <a:solidFill>
                  <a:srgbClr val="F16924"/>
                </a:solidFill>
              </a:rPr>
              <a:t>Το βασικό ερώτημα είναι: </a:t>
            </a:r>
          </a:p>
          <a:p>
            <a:pPr marL="342900" indent="-342900">
              <a:buClr>
                <a:srgbClr val="F16924"/>
              </a:buClr>
              <a:buFont typeface="Arial" panose="020B0604020202020204" pitchFamily="34" charset="0"/>
              <a:buChar char="•"/>
            </a:pPr>
            <a:r>
              <a:rPr lang="en-US" dirty="0"/>
              <a:t>Ποιος πρέπει να ενημερώνεται για το τι, πώς και πότε, προκειμένου να ελέγχει τις επιρροές των ενδιαφερομένων μερών προς το συμφέρον της εταιρείας;</a:t>
            </a:r>
          </a:p>
          <a:p>
            <a:pPr marL="12700" indent="-12700"/>
            <a:endParaRPr lang="en-US" dirty="0"/>
          </a:p>
          <a:p>
            <a:pPr marL="12700" indent="-12700"/>
            <a:r>
              <a:rPr lang="en-US" dirty="0"/>
              <a:t>Μακράν το μεγαλύτερο μέρος της διαχείρισης των ενδιαφερόμενων μερών περιλαμβάνει δραστηριότητες επικοινωνίας. Καθορίστε αυτά τα μέτρα με τη μορφή ενός σχεδίου επικοινωνίας (περισσότερα αργότερα). </a:t>
            </a:r>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Μέτρα και σχέδιο δράσης</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4385163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5943601" cy="828675"/>
          </a:xfrm>
        </p:spPr>
        <p:txBody>
          <a:bodyPr>
            <a:normAutofit/>
          </a:bodyPr>
          <a:lstStyle/>
          <a:p>
            <a:r>
              <a:rPr lang="en-US" dirty="0"/>
              <a:t>Μέτρα και σχέδιο δράσης</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3</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4" name="Tabelle 5">
            <a:extLst>
              <a:ext uri="{FF2B5EF4-FFF2-40B4-BE49-F238E27FC236}">
                <a16:creationId xmlns:a16="http://schemas.microsoft.com/office/drawing/2014/main" id="{FB2ED6F4-0365-7C4F-D93E-E5BAF8A3C01D}"/>
              </a:ext>
            </a:extLst>
          </p:cNvPr>
          <p:cNvGraphicFramePr>
            <a:graphicFrameLocks noGrp="1"/>
          </p:cNvGraphicFramePr>
          <p:nvPr>
            <p:extLst>
              <p:ext uri="{D42A27DB-BD31-4B8C-83A1-F6EECF244321}">
                <p14:modId xmlns:p14="http://schemas.microsoft.com/office/powerpoint/2010/main" val="3512793809"/>
              </p:ext>
            </p:extLst>
          </p:nvPr>
        </p:nvGraphicFramePr>
        <p:xfrm>
          <a:off x="2250951" y="2342958"/>
          <a:ext cx="9464799" cy="3437632"/>
        </p:xfrm>
        <a:graphic>
          <a:graphicData uri="http://schemas.openxmlformats.org/drawingml/2006/table">
            <a:tbl>
              <a:tblPr firstRow="1" bandRow="1">
                <a:tableStyleId>{7DF18680-E054-41AD-8BC1-D1AEF772440D}</a:tableStyleId>
              </a:tblPr>
              <a:tblGrid>
                <a:gridCol w="818365">
                  <a:extLst>
                    <a:ext uri="{9D8B030D-6E8A-4147-A177-3AD203B41FA5}">
                      <a16:colId xmlns:a16="http://schemas.microsoft.com/office/drawing/2014/main" val="2661440363"/>
                    </a:ext>
                  </a:extLst>
                </a:gridCol>
                <a:gridCol w="2038087">
                  <a:extLst>
                    <a:ext uri="{9D8B030D-6E8A-4147-A177-3AD203B41FA5}">
                      <a16:colId xmlns:a16="http://schemas.microsoft.com/office/drawing/2014/main" val="1978240280"/>
                    </a:ext>
                  </a:extLst>
                </a:gridCol>
                <a:gridCol w="2202782">
                  <a:extLst>
                    <a:ext uri="{9D8B030D-6E8A-4147-A177-3AD203B41FA5}">
                      <a16:colId xmlns:a16="http://schemas.microsoft.com/office/drawing/2014/main" val="2176638843"/>
                    </a:ext>
                  </a:extLst>
                </a:gridCol>
                <a:gridCol w="1502832">
                  <a:extLst>
                    <a:ext uri="{9D8B030D-6E8A-4147-A177-3AD203B41FA5}">
                      <a16:colId xmlns:a16="http://schemas.microsoft.com/office/drawing/2014/main" val="3557672987"/>
                    </a:ext>
                  </a:extLst>
                </a:gridCol>
                <a:gridCol w="1288899">
                  <a:extLst>
                    <a:ext uri="{9D8B030D-6E8A-4147-A177-3AD203B41FA5}">
                      <a16:colId xmlns:a16="http://schemas.microsoft.com/office/drawing/2014/main" val="3210480281"/>
                    </a:ext>
                  </a:extLst>
                </a:gridCol>
                <a:gridCol w="1613834">
                  <a:extLst>
                    <a:ext uri="{9D8B030D-6E8A-4147-A177-3AD203B41FA5}">
                      <a16:colId xmlns:a16="http://schemas.microsoft.com/office/drawing/2014/main" val="863477730"/>
                    </a:ext>
                  </a:extLst>
                </a:gridCol>
              </a:tblGrid>
              <a:tr h="1011068">
                <a:tc>
                  <a:txBody>
                    <a:bodyPr/>
                    <a:lstStyle/>
                    <a:p>
                      <a:r>
                        <a:rPr lang="en-GB" sz="2000" dirty="0"/>
                        <a:t>NR. </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STAKEHOLDER</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ΠΟΙΟΣ ΕΊΝΑΙ ΥΠΕΎΘΥΝΟΣ;</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ΠΌΤΕ;</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ΕΝΤΥΠΟ</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tc>
                  <a:txBody>
                    <a:bodyPr/>
                    <a:lstStyle/>
                    <a:p>
                      <a:r>
                        <a:rPr lang="en-GB" sz="2000" dirty="0"/>
                        <a:t>ΠΕΡΙΕΧΟΜΕΝΟ</a:t>
                      </a:r>
                      <a:endParaRPr lang="en-GB" sz="2000" dirty="0">
                        <a:latin typeface="+mj-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16924"/>
                    </a:solidFill>
                  </a:tcPr>
                </a:tc>
                <a:extLst>
                  <a:ext uri="{0D108BD9-81ED-4DB2-BD59-A6C34878D82A}">
                    <a16:rowId xmlns:a16="http://schemas.microsoft.com/office/drawing/2014/main" val="3158589264"/>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1821656"/>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8778539"/>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8378937"/>
                  </a:ext>
                </a:extLst>
              </a:tr>
              <a:tr h="606641">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2000" dirty="0"/>
                    </a:p>
                  </a:txBody>
                  <a:tcPr>
                    <a:lnL w="12700" cap="flat" cmpd="sng" algn="ctr">
                      <a:solidFill>
                        <a:srgbClr val="595959"/>
                      </a:solidFill>
                      <a:prstDash val="solid"/>
                      <a:round/>
                      <a:headEnd type="none" w="med" len="med"/>
                      <a:tailEnd type="none" w="med" len="med"/>
                    </a:lnL>
                    <a:lnR w="12700" cap="flat" cmpd="sng" algn="ctr">
                      <a:solidFill>
                        <a:srgbClr val="595959"/>
                      </a:solidFill>
                      <a:prstDash val="solid"/>
                      <a:round/>
                      <a:headEnd type="none" w="med" len="med"/>
                      <a:tailEnd type="none" w="med" len="med"/>
                    </a:lnR>
                    <a:lnT w="12700" cap="flat" cmpd="sng" algn="ctr">
                      <a:solidFill>
                        <a:srgbClr val="595959"/>
                      </a:solidFill>
                      <a:prstDash val="solid"/>
                      <a:round/>
                      <a:headEnd type="none" w="med" len="med"/>
                      <a:tailEnd type="none" w="med" len="med"/>
                    </a:lnT>
                    <a:lnB w="12700" cap="flat" cmpd="sng" algn="ctr">
                      <a:solidFill>
                        <a:srgbClr val="5959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48904216"/>
                  </a:ext>
                </a:extLst>
              </a:tr>
            </a:tbl>
          </a:graphicData>
        </a:graphic>
      </p:graphicFrame>
    </p:spTree>
    <p:extLst>
      <p:ext uri="{BB962C8B-B14F-4D97-AF65-F5344CB8AC3E}">
        <p14:creationId xmlns:p14="http://schemas.microsoft.com/office/powerpoint/2010/main" val="289182440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4752117" cy="4614864"/>
          </a:xfrm>
        </p:spPr>
        <p:txBody>
          <a:bodyPr>
            <a:normAutofit/>
          </a:bodyPr>
          <a:lstStyle/>
          <a:p>
            <a:pPr marL="12700" indent="-12700"/>
            <a:r>
              <a:rPr lang="en-US" dirty="0"/>
              <a:t>Η εφαρμογή του σχεδίου επικοινωνίας μπορεί να ακούγεται απλή στην αρχή, αλλά στην πράξη συχνά μένει πίσω μόλις τα προβλήματα με το περιεχόμενο του έργου θεωρούνται πιο επείγοντα. </a:t>
            </a:r>
          </a:p>
          <a:p>
            <a:pPr marL="12700" indent="-12700"/>
            <a:endParaRPr lang="en-US" dirty="0"/>
          </a:p>
          <a:p>
            <a:pPr marL="12700" indent="-12700"/>
            <a:r>
              <a:rPr lang="en-US" dirty="0"/>
              <a:t> Σε αυτό το βήμα είναι σημαντικό να εφαρμοστούν σαφή μέτρα επικοινωνίας καθ' όλη τη διάρκεια του έργου.  Συνολικά, η διαχείριση των ενδιαφερόμενων μερών θα πρέπει να ακολουθεί μια γενική Διαδικασία Διαχείρισης!</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a:bodyPr>
          <a:lstStyle/>
          <a:p>
            <a:r>
              <a:rPr lang="en-US" dirty="0"/>
              <a:t>Εφαρμογή και παρακολούθηση των επικοινωνι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4</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2">
            <a:extLst>
              <a:ext uri="{FF2B5EF4-FFF2-40B4-BE49-F238E27FC236}">
                <a16:creationId xmlns:a16="http://schemas.microsoft.com/office/drawing/2014/main" id="{91B4B7F5-B0B8-0A1C-57A4-C6E1F16C2C1F}"/>
              </a:ext>
            </a:extLst>
          </p:cNvPr>
          <p:cNvGrpSpPr>
            <a:grpSpLocks noChangeAspect="1"/>
          </p:cNvGrpSpPr>
          <p:nvPr/>
        </p:nvGrpSpPr>
        <p:grpSpPr>
          <a:xfrm>
            <a:off x="7355989" y="2213816"/>
            <a:ext cx="4212000" cy="4213110"/>
            <a:chOff x="5082734" y="1675347"/>
            <a:chExt cx="4438640" cy="4439807"/>
          </a:xfrm>
        </p:grpSpPr>
        <p:sp>
          <p:nvSpPr>
            <p:cNvPr id="3" name="Freeform 1">
              <a:extLst>
                <a:ext uri="{FF2B5EF4-FFF2-40B4-BE49-F238E27FC236}">
                  <a16:creationId xmlns:a16="http://schemas.microsoft.com/office/drawing/2014/main" id="{73EA190D-2CF3-3D5C-A66D-17723E3F3A39}"/>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rgbClr val="F16924"/>
            </a:solidFill>
            <a:ln>
              <a:noFill/>
            </a:ln>
            <a:effectLst/>
          </p:spPr>
          <p:txBody>
            <a:bodyPr wrap="none" anchor="ctr"/>
            <a:lstStyle/>
            <a:p>
              <a:endParaRPr lang="en-GB" sz="3200" dirty="0">
                <a:latin typeface="+mj-lt"/>
              </a:endParaRPr>
            </a:p>
          </p:txBody>
        </p:sp>
        <p:sp>
          <p:nvSpPr>
            <p:cNvPr id="4" name="Freeform 2">
              <a:extLst>
                <a:ext uri="{FF2B5EF4-FFF2-40B4-BE49-F238E27FC236}">
                  <a16:creationId xmlns:a16="http://schemas.microsoft.com/office/drawing/2014/main" id="{474D1BC0-9142-64E1-0B0E-B94BD6793EB7}"/>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rgbClr val="B41F7A"/>
            </a:solidFill>
            <a:ln>
              <a:noFill/>
            </a:ln>
            <a:effectLst/>
          </p:spPr>
          <p:txBody>
            <a:bodyPr wrap="none" anchor="ctr"/>
            <a:lstStyle/>
            <a:p>
              <a:endParaRPr lang="en-GB" sz="3200" dirty="0">
                <a:latin typeface="+mj-lt"/>
              </a:endParaRPr>
            </a:p>
          </p:txBody>
        </p:sp>
        <p:sp>
          <p:nvSpPr>
            <p:cNvPr id="5" name="Freeform 3">
              <a:extLst>
                <a:ext uri="{FF2B5EF4-FFF2-40B4-BE49-F238E27FC236}">
                  <a16:creationId xmlns:a16="http://schemas.microsoft.com/office/drawing/2014/main" id="{5C115B6C-D983-2BAC-35A4-832576EDAB3F}"/>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rgbClr val="EDA13E"/>
            </a:solidFill>
            <a:ln>
              <a:noFill/>
            </a:ln>
            <a:effectLst/>
          </p:spPr>
          <p:txBody>
            <a:bodyPr wrap="none" anchor="ctr"/>
            <a:lstStyle/>
            <a:p>
              <a:endParaRPr lang="en-GB" sz="3200" dirty="0">
                <a:latin typeface="+mj-lt"/>
              </a:endParaRPr>
            </a:p>
          </p:txBody>
        </p:sp>
        <p:sp>
          <p:nvSpPr>
            <p:cNvPr id="6" name="Freeform 4">
              <a:extLst>
                <a:ext uri="{FF2B5EF4-FFF2-40B4-BE49-F238E27FC236}">
                  <a16:creationId xmlns:a16="http://schemas.microsoft.com/office/drawing/2014/main" id="{D0CE5F86-6753-3503-0CE5-55612147670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rgbClr val="7F1C58"/>
            </a:solidFill>
            <a:ln>
              <a:noFill/>
            </a:ln>
            <a:effectLst/>
          </p:spPr>
          <p:txBody>
            <a:bodyPr wrap="none" anchor="ctr"/>
            <a:lstStyle/>
            <a:p>
              <a:endParaRPr lang="en-GB" sz="3200" dirty="0">
                <a:latin typeface="+mj-lt"/>
              </a:endParaRPr>
            </a:p>
          </p:txBody>
        </p:sp>
        <p:sp>
          <p:nvSpPr>
            <p:cNvPr id="7" name="Freeform 5">
              <a:extLst>
                <a:ext uri="{FF2B5EF4-FFF2-40B4-BE49-F238E27FC236}">
                  <a16:creationId xmlns:a16="http://schemas.microsoft.com/office/drawing/2014/main" id="{D6E44D78-EDF1-DC90-3AB0-E1609398DF2B}"/>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rgbClr val="083553"/>
            </a:solidFill>
            <a:ln>
              <a:noFill/>
            </a:ln>
            <a:effectLst/>
          </p:spPr>
          <p:txBody>
            <a:bodyPr wrap="none" anchor="ctr"/>
            <a:lstStyle/>
            <a:p>
              <a:endParaRPr lang="en-GB" sz="3200" dirty="0">
                <a:latin typeface="+mj-lt"/>
              </a:endParaRPr>
            </a:p>
          </p:txBody>
        </p:sp>
        <p:sp>
          <p:nvSpPr>
            <p:cNvPr id="8" name="TextBox 36">
              <a:extLst>
                <a:ext uri="{FF2B5EF4-FFF2-40B4-BE49-F238E27FC236}">
                  <a16:creationId xmlns:a16="http://schemas.microsoft.com/office/drawing/2014/main" id="{B65AD441-08BD-E3D8-E431-01B90C1D3CAB}"/>
                </a:ext>
              </a:extLst>
            </p:cNvPr>
            <p:cNvSpPr txBox="1"/>
            <p:nvPr/>
          </p:nvSpPr>
          <p:spPr>
            <a:xfrm>
              <a:off x="6182552" y="3457397"/>
              <a:ext cx="2259957" cy="875711"/>
            </a:xfrm>
            <a:prstGeom prst="rect">
              <a:avLst/>
            </a:prstGeom>
            <a:noFill/>
          </p:spPr>
          <p:txBody>
            <a:bodyPr wrap="none" rtlCol="0" anchor="ctr">
              <a:spAutoFit/>
            </a:bodyPr>
            <a:lstStyle/>
            <a:p>
              <a:pPr algn="ctr"/>
              <a:r>
                <a:rPr lang="en-GB" sz="2400" b="1" dirty="0">
                  <a:solidFill>
                    <a:srgbClr val="083553"/>
                  </a:solidFill>
                  <a:cs typeface="Poppins" pitchFamily="2" charset="77"/>
                </a:rPr>
                <a:t>ΔΙΑΧΕΙΡΙΣΗ</a:t>
              </a:r>
            </a:p>
            <a:p>
              <a:pPr algn="ctr"/>
              <a:r>
                <a:rPr lang="en-GB" sz="2400" b="1" dirty="0">
                  <a:solidFill>
                    <a:srgbClr val="083553"/>
                  </a:solidFill>
                  <a:cs typeface="Poppins" pitchFamily="2" charset="77"/>
                </a:rPr>
                <a:t>ΠΛΑΙΣΙΟ</a:t>
              </a:r>
            </a:p>
          </p:txBody>
        </p:sp>
        <p:sp>
          <p:nvSpPr>
            <p:cNvPr id="9" name="TextBox 37">
              <a:extLst>
                <a:ext uri="{FF2B5EF4-FFF2-40B4-BE49-F238E27FC236}">
                  <a16:creationId xmlns:a16="http://schemas.microsoft.com/office/drawing/2014/main" id="{4600992C-059B-50F0-64C4-7FC9A74044BD}"/>
                </a:ext>
              </a:extLst>
            </p:cNvPr>
            <p:cNvSpPr txBox="1"/>
            <p:nvPr/>
          </p:nvSpPr>
          <p:spPr>
            <a:xfrm rot="20700000">
              <a:off x="6273220" y="2073216"/>
              <a:ext cx="1216604"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ΑΝΑΓΝΩΡΙΣΗ</a:t>
              </a:r>
            </a:p>
          </p:txBody>
        </p:sp>
        <p:sp>
          <p:nvSpPr>
            <p:cNvPr id="11" name="TextBox 38">
              <a:extLst>
                <a:ext uri="{FF2B5EF4-FFF2-40B4-BE49-F238E27FC236}">
                  <a16:creationId xmlns:a16="http://schemas.microsoft.com/office/drawing/2014/main" id="{AEDA605C-7A34-BA44-2ECA-F6B164CAC3EE}"/>
                </a:ext>
              </a:extLst>
            </p:cNvPr>
            <p:cNvSpPr txBox="1"/>
            <p:nvPr/>
          </p:nvSpPr>
          <p:spPr>
            <a:xfrm rot="2700000">
              <a:off x="8022340" y="2749953"/>
              <a:ext cx="1311270"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ΜΕΤΡΗΣΗ</a:t>
              </a:r>
            </a:p>
          </p:txBody>
        </p:sp>
        <p:sp>
          <p:nvSpPr>
            <p:cNvPr id="15" name="TextBox 39">
              <a:extLst>
                <a:ext uri="{FF2B5EF4-FFF2-40B4-BE49-F238E27FC236}">
                  <a16:creationId xmlns:a16="http://schemas.microsoft.com/office/drawing/2014/main" id="{615B32A9-FDA8-8423-0E81-D6752970800A}"/>
                </a:ext>
              </a:extLst>
            </p:cNvPr>
            <p:cNvSpPr txBox="1"/>
            <p:nvPr/>
          </p:nvSpPr>
          <p:spPr>
            <a:xfrm rot="18341779">
              <a:off x="8059504" y="4623488"/>
              <a:ext cx="1236942"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ΔΙΑΧΕΙΡΙΣΗ</a:t>
              </a:r>
            </a:p>
          </p:txBody>
        </p:sp>
        <p:sp>
          <p:nvSpPr>
            <p:cNvPr id="16" name="TextBox 40">
              <a:extLst>
                <a:ext uri="{FF2B5EF4-FFF2-40B4-BE49-F238E27FC236}">
                  <a16:creationId xmlns:a16="http://schemas.microsoft.com/office/drawing/2014/main" id="{D79B6523-72D9-8882-4371-D6D61249927A}"/>
                </a:ext>
              </a:extLst>
            </p:cNvPr>
            <p:cNvSpPr txBox="1"/>
            <p:nvPr/>
          </p:nvSpPr>
          <p:spPr>
            <a:xfrm rot="1076605">
              <a:off x="6086147" y="5270946"/>
              <a:ext cx="1324243"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MONITOR</a:t>
              </a:r>
            </a:p>
          </p:txBody>
        </p:sp>
        <p:sp>
          <p:nvSpPr>
            <p:cNvPr id="17" name="TextBox 41">
              <a:extLst>
                <a:ext uri="{FF2B5EF4-FFF2-40B4-BE49-F238E27FC236}">
                  <a16:creationId xmlns:a16="http://schemas.microsoft.com/office/drawing/2014/main" id="{26ACB66D-B47F-1A46-D6C5-623662F010AA}"/>
                </a:ext>
              </a:extLst>
            </p:cNvPr>
            <p:cNvSpPr txBox="1"/>
            <p:nvPr/>
          </p:nvSpPr>
          <p:spPr>
            <a:xfrm rot="16200000">
              <a:off x="5137322" y="3606664"/>
              <a:ext cx="1087273" cy="421639"/>
            </a:xfrm>
            <a:prstGeom prst="rect">
              <a:avLst/>
            </a:prstGeom>
            <a:noFill/>
          </p:spPr>
          <p:txBody>
            <a:bodyPr wrap="none" rtlCol="0" anchor="ctr" anchorCtr="0">
              <a:spAutoFit/>
            </a:bodyPr>
            <a:lstStyle/>
            <a:p>
              <a:pPr algn="ctr"/>
              <a:r>
                <a:rPr lang="en-GB" sz="2000" b="1" dirty="0">
                  <a:solidFill>
                    <a:schemeClr val="bg1"/>
                  </a:solidFill>
                  <a:ea typeface="League Spartan" charset="0"/>
                  <a:cs typeface="Poppins" pitchFamily="2" charset="77"/>
                </a:rPr>
                <a:t>ΑΝΑΦΟΡΑ</a:t>
              </a:r>
            </a:p>
          </p:txBody>
        </p:sp>
      </p:grpSp>
    </p:spTree>
    <p:extLst>
      <p:ext uri="{BB962C8B-B14F-4D97-AF65-F5344CB8AC3E}">
        <p14:creationId xmlns:p14="http://schemas.microsoft.com/office/powerpoint/2010/main" val="12752512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629BCBB0-2531-B07C-F79F-E806EA32F80C}"/>
              </a:ext>
            </a:extLst>
          </p:cNvPr>
          <p:cNvSpPr>
            <a:spLocks noGrp="1"/>
          </p:cNvSpPr>
          <p:nvPr>
            <p:ph type="body" sz="quarter" idx="18"/>
          </p:nvPr>
        </p:nvSpPr>
        <p:spPr>
          <a:xfrm>
            <a:off x="2243137" y="2114549"/>
            <a:ext cx="9572625" cy="4614864"/>
          </a:xfrm>
        </p:spPr>
        <p:txBody>
          <a:bodyPr>
            <a:normAutofit/>
          </a:bodyPr>
          <a:lstStyle/>
          <a:p>
            <a:pPr marL="12700" indent="-12700"/>
            <a:r>
              <a:rPr lang="en-US" dirty="0"/>
              <a:t>Η διαχείριση των ενδιαφερόμενων μερών δεν είναι μια μέθοδος που εφαρμόζεται μία φορά, αλλά μια συνεχής διαδικασία. </a:t>
            </a:r>
          </a:p>
          <a:p>
            <a:pPr marL="12700" indent="-12700"/>
            <a:endParaRPr lang="en-US" dirty="0"/>
          </a:p>
          <a:p>
            <a:pPr marL="12700" indent="-12700"/>
            <a:r>
              <a:rPr lang="en-US" b="1" dirty="0">
                <a:solidFill>
                  <a:srgbClr val="F16924"/>
                </a:solidFill>
              </a:rPr>
              <a:t>Με βάση την αρχική ανάλυση των ενδιαφερομένων μερών, οι ερωτήσεις αυτές θα πρέπει να τίθενται τακτικά:</a:t>
            </a:r>
          </a:p>
          <a:p>
            <a:pPr marL="12700" indent="-12700"/>
            <a:endParaRPr lang="en-US" b="1" dirty="0"/>
          </a:p>
          <a:p>
            <a:pPr marL="342900" indent="-342900">
              <a:buClr>
                <a:srgbClr val="F16924"/>
              </a:buClr>
              <a:buFont typeface="Arial" panose="020B0604020202020204" pitchFamily="34" charset="0"/>
              <a:buChar char="•"/>
            </a:pPr>
            <a:r>
              <a:rPr lang="en-US" dirty="0"/>
              <a:t>Είναι ο κατάλογος των ενδιαφερομένων ακόμα ενημερωμένος ή πρέπει να λάβουμε υπόψη και άλλους ενδιαφερομένους;</a:t>
            </a:r>
          </a:p>
          <a:p>
            <a:pPr marL="342900" indent="-342900">
              <a:buClr>
                <a:srgbClr val="F16924"/>
              </a:buClr>
              <a:buFont typeface="Arial" panose="020B0604020202020204" pitchFamily="34" charset="0"/>
              <a:buChar char="•"/>
            </a:pPr>
            <a:r>
              <a:rPr lang="en-US" dirty="0"/>
              <a:t>Οι αξιολογήσεις των ενδιαφερομένων εξακολουθούν να είναι σωστές;</a:t>
            </a:r>
          </a:p>
          <a:p>
            <a:pPr marL="342900" indent="-342900">
              <a:buClr>
                <a:srgbClr val="F16924"/>
              </a:buClr>
              <a:buFont typeface="Arial" panose="020B0604020202020204" pitchFamily="34" charset="0"/>
              <a:buChar char="•"/>
            </a:pPr>
            <a:r>
              <a:rPr lang="en-US" dirty="0"/>
              <a:t>Αντιδρούν τα ενδιαφερόμενα μέρη όπως είχε προγραμματιστεί ή πρέπει να προσαρμοστούν τα μέτρα; Εάν παραμεληθεί αυτό το βήμα, η διαχείριση των ενδιαφερομένων μερών χάνει μεγάλο μέρος της αποτελεσματικότητάς της.</a:t>
            </a:r>
          </a:p>
          <a:p>
            <a:pPr marL="12700" indent="-12700"/>
            <a:endParaRPr lang="en-US" dirty="0"/>
          </a:p>
        </p:txBody>
      </p:sp>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fontScale="92500" lnSpcReduction="20000"/>
          </a:bodyPr>
          <a:lstStyle/>
          <a:p>
            <a:r>
              <a:rPr lang="en-US" dirty="0"/>
              <a:t>Παρακολούθηση και επανεξέτα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806529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6FAEB5D-B804-784E-A2C3-97BB1591377C}"/>
              </a:ext>
            </a:extLst>
          </p:cNvPr>
          <p:cNvSpPr>
            <a:spLocks noGrp="1"/>
          </p:cNvSpPr>
          <p:nvPr>
            <p:ph type="body" sz="quarter" idx="16"/>
          </p:nvPr>
        </p:nvSpPr>
        <p:spPr>
          <a:xfrm>
            <a:off x="2114549" y="828675"/>
            <a:ext cx="9944101" cy="828675"/>
          </a:xfrm>
        </p:spPr>
        <p:txBody>
          <a:bodyPr>
            <a:normAutofit fontScale="92500" lnSpcReduction="20000"/>
          </a:bodyPr>
          <a:lstStyle/>
          <a:p>
            <a:r>
              <a:rPr lang="en-US" dirty="0"/>
              <a:t>Παρακολούθηση και επανεξέταση των ενδιαφερομένων μερών</a:t>
            </a:r>
          </a:p>
        </p:txBody>
      </p:sp>
      <p:sp>
        <p:nvSpPr>
          <p:cNvPr id="13" name="Text Placeholder 2">
            <a:extLst>
              <a:ext uri="{FF2B5EF4-FFF2-40B4-BE49-F238E27FC236}">
                <a16:creationId xmlns:a16="http://schemas.microsoft.com/office/drawing/2014/main" id="{F7C61EA8-C86D-358D-E1D4-B10E353944CB}"/>
              </a:ext>
            </a:extLst>
          </p:cNvPr>
          <p:cNvSpPr txBox="1">
            <a:spLocks/>
          </p:cNvSpPr>
          <p:nvPr/>
        </p:nvSpPr>
        <p:spPr>
          <a:xfrm>
            <a:off x="276223" y="480900"/>
            <a:ext cx="1609154" cy="15333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8000" dirty="0">
                <a:solidFill>
                  <a:schemeClr val="bg1"/>
                </a:solidFill>
              </a:rPr>
              <a:t>05</a:t>
            </a:r>
          </a:p>
        </p:txBody>
      </p:sp>
      <p:sp>
        <p:nvSpPr>
          <p:cNvPr id="14" name="Rectangle 13">
            <a:extLst>
              <a:ext uri="{FF2B5EF4-FFF2-40B4-BE49-F238E27FC236}">
                <a16:creationId xmlns:a16="http://schemas.microsoft.com/office/drawing/2014/main" id="{E4E969A7-2F15-B316-C52B-0AB13146A41C}"/>
              </a:ext>
            </a:extLst>
          </p:cNvPr>
          <p:cNvSpPr/>
          <p:nvPr/>
        </p:nvSpPr>
        <p:spPr>
          <a:xfrm rot="5400000">
            <a:off x="1152487" y="1324191"/>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73" name="Gruppieren 2">
            <a:extLst>
              <a:ext uri="{FF2B5EF4-FFF2-40B4-BE49-F238E27FC236}">
                <a16:creationId xmlns:a16="http://schemas.microsoft.com/office/drawing/2014/main" id="{C36CFA75-2FC0-84A8-547B-1E2F80B730DC}"/>
              </a:ext>
            </a:extLst>
          </p:cNvPr>
          <p:cNvGrpSpPr>
            <a:grpSpLocks noChangeAspect="1"/>
          </p:cNvGrpSpPr>
          <p:nvPr/>
        </p:nvGrpSpPr>
        <p:grpSpPr>
          <a:xfrm>
            <a:off x="2114549" y="1657350"/>
            <a:ext cx="7969059" cy="4389522"/>
            <a:chOff x="1039852" y="364387"/>
            <a:chExt cx="10294883" cy="5670628"/>
          </a:xfrm>
        </p:grpSpPr>
        <p:sp>
          <p:nvSpPr>
            <p:cNvPr id="74" name="Rectangle 3">
              <a:extLst>
                <a:ext uri="{FF2B5EF4-FFF2-40B4-BE49-F238E27FC236}">
                  <a16:creationId xmlns:a16="http://schemas.microsoft.com/office/drawing/2014/main" id="{CB6346F1-AD87-C433-0F37-EA4D97EE27DE}"/>
                </a:ext>
              </a:extLst>
            </p:cNvPr>
            <p:cNvSpPr/>
            <p:nvPr/>
          </p:nvSpPr>
          <p:spPr>
            <a:xfrm>
              <a:off x="1497051" y="1614050"/>
              <a:ext cx="3276600" cy="1473994"/>
            </a:xfrm>
            <a:prstGeom prst="rect">
              <a:avLst/>
            </a:prstGeom>
            <a:solidFill>
              <a:srgbClr val="EDA13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5" name="Rectangle 74">
              <a:extLst>
                <a:ext uri="{FF2B5EF4-FFF2-40B4-BE49-F238E27FC236}">
                  <a16:creationId xmlns:a16="http://schemas.microsoft.com/office/drawing/2014/main" id="{4EC5AC05-43EC-7570-8098-22DBF96AB1AF}"/>
                </a:ext>
              </a:extLst>
            </p:cNvPr>
            <p:cNvSpPr/>
            <p:nvPr/>
          </p:nvSpPr>
          <p:spPr>
            <a:xfrm>
              <a:off x="1497051" y="3088044"/>
              <a:ext cx="3276600" cy="1473994"/>
            </a:xfrm>
            <a:prstGeom prst="rect">
              <a:avLst/>
            </a:prstGeom>
            <a:solidFill>
              <a:srgbClr val="EDA13E">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76" name="Rectangle 75">
              <a:extLst>
                <a:ext uri="{FF2B5EF4-FFF2-40B4-BE49-F238E27FC236}">
                  <a16:creationId xmlns:a16="http://schemas.microsoft.com/office/drawing/2014/main" id="{69498469-52AE-36ED-086C-8E75274E80E8}"/>
                </a:ext>
              </a:extLst>
            </p:cNvPr>
            <p:cNvSpPr/>
            <p:nvPr/>
          </p:nvSpPr>
          <p:spPr>
            <a:xfrm>
              <a:off x="1039852" y="1621194"/>
              <a:ext cx="456010" cy="146685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7" name="Rectangle 76">
              <a:extLst>
                <a:ext uri="{FF2B5EF4-FFF2-40B4-BE49-F238E27FC236}">
                  <a16:creationId xmlns:a16="http://schemas.microsoft.com/office/drawing/2014/main" id="{045B7378-016F-A437-293C-A275DF1828A0}"/>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8" name="Rectangle 9">
              <a:extLst>
                <a:ext uri="{FF2B5EF4-FFF2-40B4-BE49-F238E27FC236}">
                  <a16:creationId xmlns:a16="http://schemas.microsoft.com/office/drawing/2014/main" id="{1B8014FA-054B-000E-A5BA-0CB932AC22D4}"/>
                </a:ext>
              </a:extLst>
            </p:cNvPr>
            <p:cNvSpPr/>
            <p:nvPr/>
          </p:nvSpPr>
          <p:spPr>
            <a:xfrm>
              <a:off x="4770081" y="1157874"/>
              <a:ext cx="3277790" cy="45617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79" name="Rectangle 13">
              <a:extLst>
                <a:ext uri="{FF2B5EF4-FFF2-40B4-BE49-F238E27FC236}">
                  <a16:creationId xmlns:a16="http://schemas.microsoft.com/office/drawing/2014/main" id="{B16BF7BC-493C-6F16-C3DD-EA02A383E7BD}"/>
                </a:ext>
              </a:extLst>
            </p:cNvPr>
            <p:cNvSpPr/>
            <p:nvPr/>
          </p:nvSpPr>
          <p:spPr>
            <a:xfrm>
              <a:off x="4772462" y="3088044"/>
              <a:ext cx="3277790" cy="1473994"/>
            </a:xfrm>
            <a:prstGeom prst="rect">
              <a:avLst/>
            </a:prstGeom>
            <a:solidFill>
              <a:srgbClr val="F169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0" name="Rectangle 14">
              <a:extLst>
                <a:ext uri="{FF2B5EF4-FFF2-40B4-BE49-F238E27FC236}">
                  <a16:creationId xmlns:a16="http://schemas.microsoft.com/office/drawing/2014/main" id="{8A6ADD28-2C10-13C0-3B93-CD58341F00A2}"/>
                </a:ext>
              </a:extLst>
            </p:cNvPr>
            <p:cNvSpPr/>
            <p:nvPr/>
          </p:nvSpPr>
          <p:spPr>
            <a:xfrm>
              <a:off x="4772462" y="1617622"/>
              <a:ext cx="3277790" cy="1470423"/>
            </a:xfrm>
            <a:prstGeom prst="rect">
              <a:avLst/>
            </a:prstGeom>
            <a:solidFill>
              <a:srgbClr val="F169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1" name="Rectangle 21">
              <a:extLst>
                <a:ext uri="{FF2B5EF4-FFF2-40B4-BE49-F238E27FC236}">
                  <a16:creationId xmlns:a16="http://schemas.microsoft.com/office/drawing/2014/main" id="{94FFAA97-26EB-CA2E-8EA1-03F366EBEE04}"/>
                </a:ext>
              </a:extLst>
            </p:cNvPr>
            <p:cNvSpPr/>
            <p:nvPr/>
          </p:nvSpPr>
          <p:spPr>
            <a:xfrm>
              <a:off x="1496456" y="1157874"/>
              <a:ext cx="3277790" cy="45617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2" name="TextBox 22">
              <a:extLst>
                <a:ext uri="{FF2B5EF4-FFF2-40B4-BE49-F238E27FC236}">
                  <a16:creationId xmlns:a16="http://schemas.microsoft.com/office/drawing/2014/main" id="{5AEFE542-3501-3B08-6AF0-F578D26BB71A}"/>
                </a:ext>
              </a:extLst>
            </p:cNvPr>
            <p:cNvSpPr txBox="1"/>
            <p:nvPr/>
          </p:nvSpPr>
          <p:spPr>
            <a:xfrm>
              <a:off x="2751823" y="1168049"/>
              <a:ext cx="762901"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ΧΑΜΗΛΗ</a:t>
              </a:r>
            </a:p>
          </p:txBody>
        </p:sp>
        <p:sp>
          <p:nvSpPr>
            <p:cNvPr id="83" name="TextBox 23">
              <a:extLst>
                <a:ext uri="{FF2B5EF4-FFF2-40B4-BE49-F238E27FC236}">
                  <a16:creationId xmlns:a16="http://schemas.microsoft.com/office/drawing/2014/main" id="{667BD7CB-88CA-1649-FDAB-F2382DF55F38}"/>
                </a:ext>
              </a:extLst>
            </p:cNvPr>
            <p:cNvSpPr txBox="1"/>
            <p:nvPr/>
          </p:nvSpPr>
          <p:spPr>
            <a:xfrm>
              <a:off x="5852763" y="1168049"/>
              <a:ext cx="1116602"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84" name="TextBox 24">
              <a:extLst>
                <a:ext uri="{FF2B5EF4-FFF2-40B4-BE49-F238E27FC236}">
                  <a16:creationId xmlns:a16="http://schemas.microsoft.com/office/drawing/2014/main" id="{8FD6B277-9E22-AAB8-E17A-A3475078787B}"/>
                </a:ext>
              </a:extLst>
            </p:cNvPr>
            <p:cNvSpPr txBox="1"/>
            <p:nvPr/>
          </p:nvSpPr>
          <p:spPr>
            <a:xfrm rot="16200000">
              <a:off x="860730" y="2135939"/>
              <a:ext cx="814258"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85" name="TextBox 25">
              <a:extLst>
                <a:ext uri="{FF2B5EF4-FFF2-40B4-BE49-F238E27FC236}">
                  <a16:creationId xmlns:a16="http://schemas.microsoft.com/office/drawing/2014/main" id="{A26D7B80-2E08-0C29-8751-02B5775AC80D}"/>
                </a:ext>
              </a:extLst>
            </p:cNvPr>
            <p:cNvSpPr txBox="1"/>
            <p:nvPr/>
          </p:nvSpPr>
          <p:spPr>
            <a:xfrm rot="16200000">
              <a:off x="534435" y="3601770"/>
              <a:ext cx="1466852" cy="437363"/>
            </a:xfrm>
            <a:prstGeom prst="rect">
              <a:avLst/>
            </a:prstGeom>
            <a:solidFill>
              <a:srgbClr val="F16924"/>
            </a:solidFill>
          </p:spPr>
          <p:txBody>
            <a:bodyPr wrap="squar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MIDDLE</a:t>
              </a:r>
            </a:p>
          </p:txBody>
        </p:sp>
        <p:sp>
          <p:nvSpPr>
            <p:cNvPr id="86" name="Rectangle 9">
              <a:extLst>
                <a:ext uri="{FF2B5EF4-FFF2-40B4-BE49-F238E27FC236}">
                  <a16:creationId xmlns:a16="http://schemas.microsoft.com/office/drawing/2014/main" id="{89B2F565-4B1D-8F90-62DB-954453FC0AF1}"/>
                </a:ext>
              </a:extLst>
            </p:cNvPr>
            <p:cNvSpPr/>
            <p:nvPr/>
          </p:nvSpPr>
          <p:spPr>
            <a:xfrm>
              <a:off x="8054564" y="1157874"/>
              <a:ext cx="3277790" cy="4561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87" name="Rectangle 13">
              <a:extLst>
                <a:ext uri="{FF2B5EF4-FFF2-40B4-BE49-F238E27FC236}">
                  <a16:creationId xmlns:a16="http://schemas.microsoft.com/office/drawing/2014/main" id="{23CCD5D6-0D73-BB1E-F29E-94F228385113}"/>
                </a:ext>
              </a:extLst>
            </p:cNvPr>
            <p:cNvSpPr/>
            <p:nvPr/>
          </p:nvSpPr>
          <p:spPr>
            <a:xfrm>
              <a:off x="8056945" y="3088044"/>
              <a:ext cx="3277790" cy="1473994"/>
            </a:xfrm>
            <a:prstGeom prst="rect">
              <a:avLst/>
            </a:prstGeom>
            <a:solidFill>
              <a:srgbClr val="B41F7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8" name="Rectangle 14">
              <a:extLst>
                <a:ext uri="{FF2B5EF4-FFF2-40B4-BE49-F238E27FC236}">
                  <a16:creationId xmlns:a16="http://schemas.microsoft.com/office/drawing/2014/main" id="{18FF1C7F-D4B9-A507-EAFC-B6967ED39057}"/>
                </a:ext>
              </a:extLst>
            </p:cNvPr>
            <p:cNvSpPr/>
            <p:nvPr/>
          </p:nvSpPr>
          <p:spPr>
            <a:xfrm>
              <a:off x="8056945" y="1617622"/>
              <a:ext cx="3277790" cy="1470423"/>
            </a:xfrm>
            <a:prstGeom prst="rect">
              <a:avLst/>
            </a:prstGeom>
            <a:solidFill>
              <a:srgbClr val="B41F7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89" name="TextBox 23">
              <a:extLst>
                <a:ext uri="{FF2B5EF4-FFF2-40B4-BE49-F238E27FC236}">
                  <a16:creationId xmlns:a16="http://schemas.microsoft.com/office/drawing/2014/main" id="{5E654560-0FAC-210F-09B5-091761AFB07B}"/>
                </a:ext>
              </a:extLst>
            </p:cNvPr>
            <p:cNvSpPr txBox="1"/>
            <p:nvPr/>
          </p:nvSpPr>
          <p:spPr>
            <a:xfrm>
              <a:off x="9288417" y="1168049"/>
              <a:ext cx="814259"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HIGH</a:t>
              </a:r>
            </a:p>
          </p:txBody>
        </p:sp>
        <p:sp>
          <p:nvSpPr>
            <p:cNvPr id="90" name="Rectangle 4">
              <a:extLst>
                <a:ext uri="{FF2B5EF4-FFF2-40B4-BE49-F238E27FC236}">
                  <a16:creationId xmlns:a16="http://schemas.microsoft.com/office/drawing/2014/main" id="{1D99B120-1D57-5A08-9A1D-385168732F0C}"/>
                </a:ext>
              </a:extLst>
            </p:cNvPr>
            <p:cNvSpPr/>
            <p:nvPr/>
          </p:nvSpPr>
          <p:spPr>
            <a:xfrm>
              <a:off x="1495862" y="4561021"/>
              <a:ext cx="3276600" cy="1473994"/>
            </a:xfrm>
            <a:prstGeom prst="rect">
              <a:avLst/>
            </a:prstGeom>
            <a:solidFill>
              <a:srgbClr val="EDA13E">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1" name="Rectangle 6">
              <a:extLst>
                <a:ext uri="{FF2B5EF4-FFF2-40B4-BE49-F238E27FC236}">
                  <a16:creationId xmlns:a16="http://schemas.microsoft.com/office/drawing/2014/main" id="{40866E99-4ED8-D2A0-4E3E-C1B8D3E65AB7}"/>
                </a:ext>
              </a:extLst>
            </p:cNvPr>
            <p:cNvSpPr/>
            <p:nvPr/>
          </p:nvSpPr>
          <p:spPr>
            <a:xfrm>
              <a:off x="1049177" y="4561021"/>
              <a:ext cx="445496" cy="1473994"/>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92" name="Rectangle 13">
              <a:extLst>
                <a:ext uri="{FF2B5EF4-FFF2-40B4-BE49-F238E27FC236}">
                  <a16:creationId xmlns:a16="http://schemas.microsoft.com/office/drawing/2014/main" id="{0CB001E1-468A-7BCC-936C-1AD92B2C6B33}"/>
                </a:ext>
              </a:extLst>
            </p:cNvPr>
            <p:cNvSpPr/>
            <p:nvPr/>
          </p:nvSpPr>
          <p:spPr>
            <a:xfrm>
              <a:off x="4771273" y="4561021"/>
              <a:ext cx="3277790" cy="1473994"/>
            </a:xfrm>
            <a:prstGeom prst="rect">
              <a:avLst/>
            </a:prstGeom>
            <a:solidFill>
              <a:srgbClr val="F169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3" name="TextBox 92">
              <a:extLst>
                <a:ext uri="{FF2B5EF4-FFF2-40B4-BE49-F238E27FC236}">
                  <a16:creationId xmlns:a16="http://schemas.microsoft.com/office/drawing/2014/main" id="{565BDD02-5971-5EBC-A6C2-FBB2336C975B}"/>
                </a:ext>
              </a:extLst>
            </p:cNvPr>
            <p:cNvSpPr txBox="1"/>
            <p:nvPr/>
          </p:nvSpPr>
          <p:spPr>
            <a:xfrm rot="16200000">
              <a:off x="885221" y="5079338"/>
              <a:ext cx="762900" cy="437363"/>
            </a:xfrm>
            <a:prstGeom prst="rect">
              <a:avLst/>
            </a:prstGeom>
            <a:noFill/>
          </p:spPr>
          <p:txBody>
            <a:bodyPr wrap="none" rtlCol="0" anchor="ctr" anchorCtr="0">
              <a:spAutoFit/>
            </a:bodyPr>
            <a:lstStyle/>
            <a:p>
              <a:pPr algn="ctr"/>
              <a:r>
                <a:rPr lang="en-GB" sz="1600" b="1" dirty="0">
                  <a:solidFill>
                    <a:schemeClr val="bg1"/>
                  </a:solidFill>
                  <a:latin typeface="Calibri" panose="020F0502020204030204" pitchFamily="34" charset="0"/>
                  <a:ea typeface="League Spartan" charset="0"/>
                  <a:cs typeface="Calibri" panose="020F0502020204030204" pitchFamily="34" charset="0"/>
                </a:rPr>
                <a:t>ΧΑΜΗΛΗ</a:t>
              </a:r>
            </a:p>
          </p:txBody>
        </p:sp>
        <p:sp>
          <p:nvSpPr>
            <p:cNvPr id="94" name="Rectangle 13">
              <a:extLst>
                <a:ext uri="{FF2B5EF4-FFF2-40B4-BE49-F238E27FC236}">
                  <a16:creationId xmlns:a16="http://schemas.microsoft.com/office/drawing/2014/main" id="{5F28CCA2-D89B-D359-2AFE-30B5383DA3C3}"/>
                </a:ext>
              </a:extLst>
            </p:cNvPr>
            <p:cNvSpPr/>
            <p:nvPr/>
          </p:nvSpPr>
          <p:spPr>
            <a:xfrm>
              <a:off x="8055756" y="4561021"/>
              <a:ext cx="3277790" cy="1473994"/>
            </a:xfrm>
            <a:prstGeom prst="rect">
              <a:avLst/>
            </a:prstGeom>
            <a:solidFill>
              <a:srgbClr val="B41F7A">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95" name="TextBox 35">
              <a:extLst>
                <a:ext uri="{FF2B5EF4-FFF2-40B4-BE49-F238E27FC236}">
                  <a16:creationId xmlns:a16="http://schemas.microsoft.com/office/drawing/2014/main" id="{F1AC1C7E-9370-5224-E5AC-850346E5A280}"/>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Επιρροή</a:t>
              </a:r>
            </a:p>
          </p:txBody>
        </p:sp>
        <p:sp>
          <p:nvSpPr>
            <p:cNvPr id="96" name="Ellipse 48">
              <a:extLst>
                <a:ext uri="{FF2B5EF4-FFF2-40B4-BE49-F238E27FC236}">
                  <a16:creationId xmlns:a16="http://schemas.microsoft.com/office/drawing/2014/main" id="{DACD1C60-9A3E-03F3-A3F0-CBB8CF4758D8}"/>
                </a:ext>
              </a:extLst>
            </p:cNvPr>
            <p:cNvSpPr/>
            <p:nvPr/>
          </p:nvSpPr>
          <p:spPr>
            <a:xfrm>
              <a:off x="2458071" y="1880526"/>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1</a:t>
              </a:r>
            </a:p>
          </p:txBody>
        </p:sp>
        <p:sp>
          <p:nvSpPr>
            <p:cNvPr id="97" name="Ellipse 50">
              <a:extLst>
                <a:ext uri="{FF2B5EF4-FFF2-40B4-BE49-F238E27FC236}">
                  <a16:creationId xmlns:a16="http://schemas.microsoft.com/office/drawing/2014/main" id="{E56CA96C-05BE-DE29-0A4E-2C886C0529BB}"/>
                </a:ext>
              </a:extLst>
            </p:cNvPr>
            <p:cNvSpPr/>
            <p:nvPr/>
          </p:nvSpPr>
          <p:spPr>
            <a:xfrm>
              <a:off x="2857191" y="3296479"/>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2</a:t>
              </a:r>
            </a:p>
          </p:txBody>
        </p:sp>
        <p:sp>
          <p:nvSpPr>
            <p:cNvPr id="98" name="Ellipse 51">
              <a:extLst>
                <a:ext uri="{FF2B5EF4-FFF2-40B4-BE49-F238E27FC236}">
                  <a16:creationId xmlns:a16="http://schemas.microsoft.com/office/drawing/2014/main" id="{84536D0F-8CAB-FB09-B5A4-CF9C1B41722C}"/>
                </a:ext>
              </a:extLst>
            </p:cNvPr>
            <p:cNvSpPr/>
            <p:nvPr/>
          </p:nvSpPr>
          <p:spPr>
            <a:xfrm>
              <a:off x="4555406" y="2222500"/>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3</a:t>
              </a:r>
            </a:p>
          </p:txBody>
        </p:sp>
        <p:sp>
          <p:nvSpPr>
            <p:cNvPr id="99" name="Ellipse 55">
              <a:extLst>
                <a:ext uri="{FF2B5EF4-FFF2-40B4-BE49-F238E27FC236}">
                  <a16:creationId xmlns:a16="http://schemas.microsoft.com/office/drawing/2014/main" id="{BA704B0D-ADC3-0444-879F-67E9A65FD27A}"/>
                </a:ext>
              </a:extLst>
            </p:cNvPr>
            <p:cNvSpPr/>
            <p:nvPr/>
          </p:nvSpPr>
          <p:spPr>
            <a:xfrm>
              <a:off x="9997379" y="1654268"/>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7</a:t>
              </a:r>
            </a:p>
          </p:txBody>
        </p:sp>
        <p:sp>
          <p:nvSpPr>
            <p:cNvPr id="100" name="Ellipse 56">
              <a:extLst>
                <a:ext uri="{FF2B5EF4-FFF2-40B4-BE49-F238E27FC236}">
                  <a16:creationId xmlns:a16="http://schemas.microsoft.com/office/drawing/2014/main" id="{D0B82B97-CF22-3E5D-962C-9C239AC002D7}"/>
                </a:ext>
              </a:extLst>
            </p:cNvPr>
            <p:cNvSpPr/>
            <p:nvPr/>
          </p:nvSpPr>
          <p:spPr>
            <a:xfrm>
              <a:off x="8516115" y="1691044"/>
              <a:ext cx="1232352"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1" name="Ellipse 57">
              <a:extLst>
                <a:ext uri="{FF2B5EF4-FFF2-40B4-BE49-F238E27FC236}">
                  <a16:creationId xmlns:a16="http://schemas.microsoft.com/office/drawing/2014/main" id="{7EE49FDE-312C-04AA-3C62-8879D685A923}"/>
                </a:ext>
              </a:extLst>
            </p:cNvPr>
            <p:cNvSpPr/>
            <p:nvPr/>
          </p:nvSpPr>
          <p:spPr>
            <a:xfrm>
              <a:off x="8168845" y="4590789"/>
              <a:ext cx="1232353" cy="1206500"/>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5</a:t>
              </a:r>
            </a:p>
          </p:txBody>
        </p:sp>
        <p:sp>
          <p:nvSpPr>
            <p:cNvPr id="102" name="Ellipse 58">
              <a:extLst>
                <a:ext uri="{FF2B5EF4-FFF2-40B4-BE49-F238E27FC236}">
                  <a16:creationId xmlns:a16="http://schemas.microsoft.com/office/drawing/2014/main" id="{E81528CB-F3FD-31D8-7F6B-A28B1F5690BC}"/>
                </a:ext>
              </a:extLst>
            </p:cNvPr>
            <p:cNvSpPr/>
            <p:nvPr/>
          </p:nvSpPr>
          <p:spPr>
            <a:xfrm>
              <a:off x="5807585" y="1803263"/>
              <a:ext cx="1232353" cy="1206500"/>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grpSp>
      <p:sp>
        <p:nvSpPr>
          <p:cNvPr id="103" name="Ellipse 56">
            <a:extLst>
              <a:ext uri="{FF2B5EF4-FFF2-40B4-BE49-F238E27FC236}">
                <a16:creationId xmlns:a16="http://schemas.microsoft.com/office/drawing/2014/main" id="{0CF6BDD4-F5CD-28FC-06A3-2C976611B9BC}"/>
              </a:ext>
            </a:extLst>
          </p:cNvPr>
          <p:cNvSpPr/>
          <p:nvPr/>
        </p:nvSpPr>
        <p:spPr>
          <a:xfrm>
            <a:off x="7770190" y="3880339"/>
            <a:ext cx="953939" cy="933928"/>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6</a:t>
            </a:r>
          </a:p>
        </p:txBody>
      </p:sp>
      <p:sp>
        <p:nvSpPr>
          <p:cNvPr id="104" name="Ellipse 58">
            <a:extLst>
              <a:ext uri="{FF2B5EF4-FFF2-40B4-BE49-F238E27FC236}">
                <a16:creationId xmlns:a16="http://schemas.microsoft.com/office/drawing/2014/main" id="{75EB9DBA-1838-0502-1A97-600E52FFD448}"/>
              </a:ext>
            </a:extLst>
          </p:cNvPr>
          <p:cNvSpPr/>
          <p:nvPr/>
        </p:nvSpPr>
        <p:spPr>
          <a:xfrm>
            <a:off x="6227494" y="4924459"/>
            <a:ext cx="953939" cy="933928"/>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dirty="0"/>
              <a:t>S4</a:t>
            </a:r>
          </a:p>
        </p:txBody>
      </p:sp>
      <p:cxnSp>
        <p:nvCxnSpPr>
          <p:cNvPr id="105" name="Gerade Verbindung mit Pfeil 4">
            <a:extLst>
              <a:ext uri="{FF2B5EF4-FFF2-40B4-BE49-F238E27FC236}">
                <a16:creationId xmlns:a16="http://schemas.microsoft.com/office/drawing/2014/main" id="{F6E4828D-8011-D4DE-18B6-5BDB96878C75}"/>
              </a:ext>
            </a:extLst>
          </p:cNvPr>
          <p:cNvCxnSpPr>
            <a:cxnSpLocks/>
          </p:cNvCxnSpPr>
          <p:nvPr/>
        </p:nvCxnSpPr>
        <p:spPr>
          <a:xfrm flipH="1">
            <a:off x="8220176" y="3600877"/>
            <a:ext cx="154375" cy="212760"/>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Gerade Verbindung mit Pfeil 62">
            <a:extLst>
              <a:ext uri="{FF2B5EF4-FFF2-40B4-BE49-F238E27FC236}">
                <a16:creationId xmlns:a16="http://schemas.microsoft.com/office/drawing/2014/main" id="{1B7D7DFD-882B-3824-326F-4189AEAC273D}"/>
              </a:ext>
            </a:extLst>
          </p:cNvPr>
          <p:cNvCxnSpPr>
            <a:cxnSpLocks/>
          </p:cNvCxnSpPr>
          <p:nvPr/>
        </p:nvCxnSpPr>
        <p:spPr>
          <a:xfrm flipH="1" flipV="1">
            <a:off x="6479284" y="3787444"/>
            <a:ext cx="165051" cy="1137015"/>
          </a:xfrm>
          <a:prstGeom prst="straightConnector1">
            <a:avLst/>
          </a:prstGeom>
          <a:ln w="57150">
            <a:solidFill>
              <a:srgbClr val="08355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728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BE35480-22C0-2888-26A8-A87F83BC5F8A}"/>
              </a:ext>
            </a:extLst>
          </p:cNvPr>
          <p:cNvSpPr>
            <a:spLocks noGrp="1"/>
          </p:cNvSpPr>
          <p:nvPr>
            <p:ph type="body" sz="quarter" idx="17"/>
          </p:nvPr>
        </p:nvSpPr>
        <p:spPr/>
        <p:txBody>
          <a:bodyPr/>
          <a:lstStyle/>
          <a:p>
            <a:r>
              <a:rPr lang="en-US" dirty="0"/>
              <a:t>01</a:t>
            </a:r>
          </a:p>
        </p:txBody>
      </p:sp>
      <p:sp>
        <p:nvSpPr>
          <p:cNvPr id="6" name="Text Placeholder 1">
            <a:extLst>
              <a:ext uri="{FF2B5EF4-FFF2-40B4-BE49-F238E27FC236}">
                <a16:creationId xmlns:a16="http://schemas.microsoft.com/office/drawing/2014/main" id="{20FB6E2B-CA79-2D36-9C1C-2A33E3ADD39F}"/>
              </a:ext>
            </a:extLst>
          </p:cNvPr>
          <p:cNvSpPr txBox="1">
            <a:spLocks/>
          </p:cNvSpPr>
          <p:nvPr/>
        </p:nvSpPr>
        <p:spPr>
          <a:xfrm>
            <a:off x="2149154" y="2234382"/>
            <a:ext cx="4231981" cy="2138516"/>
          </a:xfrm>
          <a:prstGeom prst="rect">
            <a:avLst/>
          </a:prstGeom>
        </p:spPr>
        <p:txBody>
          <a:bodyPr vert="horz" lIns="91440" tIns="45720" rIns="91440" bIns="45720" rtlCol="0">
            <a:no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buClr>
                <a:srgbClr val="EDA13E"/>
              </a:buClr>
            </a:pPr>
            <a:r>
              <a:rPr lang="en-US" sz="2200" dirty="0">
                <a:latin typeface="Calibri" panose="020F0502020204030204" pitchFamily="34" charset="0"/>
                <a:cs typeface="Calibri" panose="020F0502020204030204" pitchFamily="34" charset="0"/>
              </a:rPr>
              <a:t>Οι δεξιότητες διαχείρισης μιας κρίσης</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Κριτική σκέψη</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Κατανόηση της προσαρμοστικής ηγεσίας</a:t>
            </a:r>
          </a:p>
          <a:p>
            <a:pPr marL="407988" indent="-407988">
              <a:lnSpc>
                <a:spcPts val="2260"/>
              </a:lnSpc>
              <a:buClr>
                <a:srgbClr val="EDA13E"/>
              </a:buClr>
              <a:buFont typeface="Arial" panose="020B0604020202020204" pitchFamily="34" charset="0"/>
              <a:buChar char="•"/>
            </a:pPr>
            <a:r>
              <a:rPr lang="en-US" sz="2200" dirty="0">
                <a:latin typeface="Calibri" panose="020F0502020204030204" pitchFamily="34" charset="0"/>
                <a:cs typeface="Calibri" panose="020F0502020204030204" pitchFamily="34" charset="0"/>
              </a:rPr>
              <a:t>Ομαδική εργασία</a:t>
            </a:r>
          </a:p>
          <a:p>
            <a:pPr>
              <a:lnSpc>
                <a:spcPts val="2260"/>
              </a:lnSpc>
              <a:buClr>
                <a:srgbClr val="EDA13E"/>
              </a:buClr>
            </a:pPr>
            <a:br>
              <a:rPr lang="en-US" sz="2200" dirty="0">
                <a:latin typeface="Calibri" panose="020F0502020204030204" pitchFamily="34" charset="0"/>
                <a:cs typeface="Calibri" panose="020F0502020204030204" pitchFamily="34" charset="0"/>
              </a:rPr>
            </a:br>
            <a:br>
              <a:rPr lang="en-US" sz="2200" dirty="0">
                <a:latin typeface="Calibri" panose="020F0502020204030204" pitchFamily="34" charset="0"/>
                <a:cs typeface="Calibri" panose="020F0502020204030204" pitchFamily="34" charset="0"/>
              </a:rPr>
            </a:br>
            <a:endParaRPr lang="en-US" sz="2200" dirty="0"/>
          </a:p>
          <a:p>
            <a:pPr marL="407988" indent="-407988">
              <a:lnSpc>
                <a:spcPts val="2260"/>
              </a:lnSpc>
              <a:buClr>
                <a:srgbClr val="EDA13E"/>
              </a:buClr>
              <a:buFont typeface="Arial" panose="020B0604020202020204" pitchFamily="34" charset="0"/>
              <a:buChar char="•"/>
            </a:pPr>
            <a:endParaRPr lang="en-US" sz="2200" dirty="0"/>
          </a:p>
        </p:txBody>
      </p:sp>
      <p:sp>
        <p:nvSpPr>
          <p:cNvPr id="8" name="Text Placeholder 7">
            <a:extLst>
              <a:ext uri="{FF2B5EF4-FFF2-40B4-BE49-F238E27FC236}">
                <a16:creationId xmlns:a16="http://schemas.microsoft.com/office/drawing/2014/main" id="{0747E47D-5983-7B56-E09A-E880094FA48E}"/>
              </a:ext>
            </a:extLst>
          </p:cNvPr>
          <p:cNvSpPr>
            <a:spLocks noGrp="1"/>
          </p:cNvSpPr>
          <p:nvPr>
            <p:ph type="body" sz="quarter" idx="16"/>
          </p:nvPr>
        </p:nvSpPr>
        <p:spPr>
          <a:xfrm>
            <a:off x="2149154" y="1379072"/>
            <a:ext cx="4561362" cy="1924568"/>
          </a:xfrm>
        </p:spPr>
        <p:txBody>
          <a:bodyPr>
            <a:normAutofit fontScale="85000" lnSpcReduction="10000"/>
          </a:bodyPr>
          <a:lstStyle/>
          <a:p>
            <a:r>
              <a:rPr lang="el-GR" dirty="0"/>
              <a:t>Ηγετική </a:t>
            </a:r>
            <a:r>
              <a:rPr lang="en-US" dirty="0" err="1"/>
              <a:t>Κουλτούρ</a:t>
            </a:r>
            <a:r>
              <a:rPr lang="en-US" dirty="0"/>
              <a:t>α:</a:t>
            </a:r>
            <a:br>
              <a:rPr lang="en-US" dirty="0"/>
            </a:br>
            <a:endParaRPr lang="en-US" dirty="0"/>
          </a:p>
          <a:p>
            <a:endParaRPr lang="en-US" dirty="0"/>
          </a:p>
        </p:txBody>
      </p:sp>
    </p:spTree>
    <p:extLst>
      <p:ext uri="{BB962C8B-B14F-4D97-AF65-F5344CB8AC3E}">
        <p14:creationId xmlns:p14="http://schemas.microsoft.com/office/powerpoint/2010/main" val="3914830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F261C4E-DB3C-720A-45F5-08A040502D2B}"/>
              </a:ext>
            </a:extLst>
          </p:cNvPr>
          <p:cNvSpPr txBox="1">
            <a:spLocks/>
          </p:cNvSpPr>
          <p:nvPr/>
        </p:nvSpPr>
        <p:spPr>
          <a:xfrm>
            <a:off x="2393004" y="2700527"/>
            <a:ext cx="4235894" cy="3833009"/>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pPr>
            <a:r>
              <a:rPr lang="en-US" sz="2200" dirty="0"/>
              <a:t>Αν δεν μπορείτε να επικοινωνήσετε, δεν μπορείτε να ανακάμψετε.  </a:t>
            </a:r>
          </a:p>
          <a:p>
            <a:pPr>
              <a:lnSpc>
                <a:spcPts val="2260"/>
              </a:lnSpc>
            </a:pPr>
            <a:endParaRPr lang="en-US" sz="2200" dirty="0"/>
          </a:p>
          <a:p>
            <a:pPr marL="363538" indent="-363538">
              <a:lnSpc>
                <a:spcPts val="2260"/>
              </a:lnSpc>
              <a:buFont typeface="Arial" panose="020B0604020202020204" pitchFamily="34" charset="0"/>
              <a:buChar char="•"/>
            </a:pPr>
            <a:r>
              <a:rPr lang="en-US" sz="2200" dirty="0"/>
              <a:t>Επικοινωνίες σχετικά με το καθήκον επιμέλειας</a:t>
            </a:r>
          </a:p>
          <a:p>
            <a:pPr marL="363538" indent="-363538">
              <a:lnSpc>
                <a:spcPts val="2260"/>
              </a:lnSpc>
              <a:buFont typeface="Arial" panose="020B0604020202020204" pitchFamily="34" charset="0"/>
              <a:buChar char="•"/>
            </a:pPr>
            <a:r>
              <a:rPr lang="en-US" sz="2200" dirty="0"/>
              <a:t>Έλεγχος της αφήγησης</a:t>
            </a:r>
          </a:p>
          <a:p>
            <a:pPr>
              <a:lnSpc>
                <a:spcPts val="2260"/>
              </a:lnSpc>
            </a:pPr>
            <a:endParaRPr lang="en-US" sz="2200" dirty="0"/>
          </a:p>
        </p:txBody>
      </p:sp>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r>
              <a:rPr lang="en-US" dirty="0"/>
              <a:t>03</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1187148"/>
          </a:xfrm>
        </p:spPr>
        <p:txBody>
          <a:bodyPr/>
          <a:lstStyle/>
          <a:p>
            <a:r>
              <a:rPr lang="en-US" dirty="0"/>
              <a:t>Επ</a:t>
            </a:r>
            <a:r>
              <a:rPr lang="en-US" dirty="0" err="1"/>
              <a:t>ικοινωνί</a:t>
            </a:r>
            <a:r>
              <a:rPr lang="el-GR" dirty="0"/>
              <a:t>α</a:t>
            </a:r>
            <a:r>
              <a:rPr lang="en-US" dirty="0"/>
              <a:t>:</a:t>
            </a:r>
          </a:p>
        </p:txBody>
      </p:sp>
    </p:spTree>
    <p:extLst>
      <p:ext uri="{BB962C8B-B14F-4D97-AF65-F5344CB8AC3E}">
        <p14:creationId xmlns:p14="http://schemas.microsoft.com/office/powerpoint/2010/main" val="1619396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6463521"/>
          </a:xfrm>
        </p:spPr>
        <p:txBody>
          <a:bodyPr>
            <a:normAutofit/>
          </a:bodyPr>
          <a:lstStyle/>
          <a:p>
            <a:r>
              <a:rPr lang="en-GB" sz="3200" dirty="0">
                <a:solidFill>
                  <a:schemeClr val="bg1"/>
                </a:solidFill>
              </a:rPr>
              <a:t>Σκοπός της επικοινωνίας με τα ενδιαφερόμενα μέρη σε κρίση</a:t>
            </a:r>
          </a:p>
          <a:p>
            <a:endParaRPr lang="en-GB" dirty="0">
              <a:solidFill>
                <a:schemeClr val="bg1"/>
              </a:solidFill>
            </a:endParaRPr>
          </a:p>
          <a:p>
            <a:endParaRPr lang="en-GB" dirty="0">
              <a:solidFill>
                <a:schemeClr val="bg1"/>
              </a:solidFill>
            </a:endParaRPr>
          </a:p>
          <a:p>
            <a:pPr>
              <a:lnSpc>
                <a:spcPts val="2260"/>
              </a:lnSpc>
              <a:spcBef>
                <a:spcPts val="0"/>
              </a:spcBef>
            </a:pPr>
            <a:r>
              <a:rPr lang="en-GB" sz="2000" b="1" dirty="0">
                <a:solidFill>
                  <a:schemeClr val="bg1"/>
                </a:solidFill>
              </a:rPr>
              <a:t>Ενδιαφερόμενα μέρη</a:t>
            </a:r>
          </a:p>
          <a:p>
            <a:pPr>
              <a:lnSpc>
                <a:spcPts val="2260"/>
              </a:lnSpc>
              <a:spcBef>
                <a:spcPts val="0"/>
              </a:spcBef>
            </a:pPr>
            <a:r>
              <a:rPr lang="en-GB" sz="2000" dirty="0">
                <a:solidFill>
                  <a:schemeClr val="bg1"/>
                </a:solidFill>
              </a:rPr>
              <a:t>= όλες οι ομάδες εντός και εκτός του οργανισμού, </a:t>
            </a:r>
          </a:p>
          <a:p>
            <a:pPr>
              <a:lnSpc>
                <a:spcPts val="2260"/>
              </a:lnSpc>
              <a:spcBef>
                <a:spcPts val="0"/>
              </a:spcBef>
            </a:pPr>
            <a:r>
              <a:rPr lang="en-GB" sz="2000" dirty="0">
                <a:solidFill>
                  <a:schemeClr val="bg1"/>
                </a:solidFill>
              </a:rPr>
              <a:t>που επηρεάζουν την απόδοση και την επίτευξη των στόχων του οργανισμού με αυτό που κάνουν</a:t>
            </a:r>
          </a:p>
          <a:p>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cxnSp>
        <p:nvCxnSpPr>
          <p:cNvPr id="3" name="Straight Arrow Connector 24">
            <a:extLst>
              <a:ext uri="{FF2B5EF4-FFF2-40B4-BE49-F238E27FC236}">
                <a16:creationId xmlns:a16="http://schemas.microsoft.com/office/drawing/2014/main" id="{5C25294F-D0A1-CD65-D827-9475A3F827D7}"/>
              </a:ext>
            </a:extLst>
          </p:cNvPr>
          <p:cNvCxnSpPr>
            <a:cxnSpLocks/>
          </p:cNvCxnSpPr>
          <p:nvPr/>
        </p:nvCxnSpPr>
        <p:spPr>
          <a:xfrm flipH="1">
            <a:off x="6664318" y="4624500"/>
            <a:ext cx="1285621" cy="0"/>
          </a:xfrm>
          <a:prstGeom prst="straightConnector1">
            <a:avLst/>
          </a:prstGeom>
          <a:ln w="38100" cap="rnd">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4" name="Straight Arrow Connector 25">
            <a:extLst>
              <a:ext uri="{FF2B5EF4-FFF2-40B4-BE49-F238E27FC236}">
                <a16:creationId xmlns:a16="http://schemas.microsoft.com/office/drawing/2014/main" id="{48937EDA-1EBE-9AAA-4847-7CE6A1E677C2}"/>
              </a:ext>
            </a:extLst>
          </p:cNvPr>
          <p:cNvCxnSpPr>
            <a:cxnSpLocks/>
          </p:cNvCxnSpPr>
          <p:nvPr/>
        </p:nvCxnSpPr>
        <p:spPr>
          <a:xfrm flipH="1">
            <a:off x="6664317" y="3754686"/>
            <a:ext cx="1787620" cy="0"/>
          </a:xfrm>
          <a:prstGeom prst="straightConnector1">
            <a:avLst/>
          </a:prstGeom>
          <a:ln w="38100" cap="rnd">
            <a:solidFill>
              <a:srgbClr val="083553"/>
            </a:solidFill>
            <a:tailEnd type="oval"/>
          </a:ln>
        </p:spPr>
        <p:style>
          <a:lnRef idx="1">
            <a:schemeClr val="accent1"/>
          </a:lnRef>
          <a:fillRef idx="0">
            <a:schemeClr val="accent1"/>
          </a:fillRef>
          <a:effectRef idx="0">
            <a:schemeClr val="accent1"/>
          </a:effectRef>
          <a:fontRef idx="minor">
            <a:schemeClr val="tx1"/>
          </a:fontRef>
        </p:style>
      </p:cxnSp>
      <p:cxnSp>
        <p:nvCxnSpPr>
          <p:cNvPr id="5" name="Straight Arrow Connector 26">
            <a:extLst>
              <a:ext uri="{FF2B5EF4-FFF2-40B4-BE49-F238E27FC236}">
                <a16:creationId xmlns:a16="http://schemas.microsoft.com/office/drawing/2014/main" id="{BF04BA93-C6F2-51A8-C24C-32BD259B9346}"/>
              </a:ext>
            </a:extLst>
          </p:cNvPr>
          <p:cNvCxnSpPr>
            <a:cxnSpLocks/>
          </p:cNvCxnSpPr>
          <p:nvPr/>
        </p:nvCxnSpPr>
        <p:spPr>
          <a:xfrm flipH="1">
            <a:off x="6664318" y="2888465"/>
            <a:ext cx="2286025" cy="0"/>
          </a:xfrm>
          <a:prstGeom prst="straightConnector1">
            <a:avLst/>
          </a:prstGeom>
          <a:ln w="38100" cap="rnd">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7" name="Freeform 12">
            <a:extLst>
              <a:ext uri="{FF2B5EF4-FFF2-40B4-BE49-F238E27FC236}">
                <a16:creationId xmlns:a16="http://schemas.microsoft.com/office/drawing/2014/main" id="{CCB93CE6-D43A-BCAB-EC52-B62AF125AD8C}"/>
              </a:ext>
            </a:extLst>
          </p:cNvPr>
          <p:cNvSpPr>
            <a:spLocks/>
          </p:cNvSpPr>
          <p:nvPr/>
        </p:nvSpPr>
        <p:spPr bwMode="auto">
          <a:xfrm>
            <a:off x="7204504" y="46245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u="sng" dirty="0"/>
          </a:p>
        </p:txBody>
      </p:sp>
      <p:sp>
        <p:nvSpPr>
          <p:cNvPr id="9" name="Freeform 10">
            <a:extLst>
              <a:ext uri="{FF2B5EF4-FFF2-40B4-BE49-F238E27FC236}">
                <a16:creationId xmlns:a16="http://schemas.microsoft.com/office/drawing/2014/main" id="{F805B9AF-4BBD-BE70-B0A3-040C648409EC}"/>
              </a:ext>
            </a:extLst>
          </p:cNvPr>
          <p:cNvSpPr>
            <a:spLocks/>
          </p:cNvSpPr>
          <p:nvPr/>
        </p:nvSpPr>
        <p:spPr bwMode="auto">
          <a:xfrm>
            <a:off x="8206106" y="46245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0" name="Freeform 6">
            <a:extLst>
              <a:ext uri="{FF2B5EF4-FFF2-40B4-BE49-F238E27FC236}">
                <a16:creationId xmlns:a16="http://schemas.microsoft.com/office/drawing/2014/main" id="{261C27E3-72B5-FC8B-160A-69D557B753D6}"/>
              </a:ext>
            </a:extLst>
          </p:cNvPr>
          <p:cNvSpPr>
            <a:spLocks/>
          </p:cNvSpPr>
          <p:nvPr/>
        </p:nvSpPr>
        <p:spPr bwMode="auto">
          <a:xfrm>
            <a:off x="7706503" y="28884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1" name="Freeform 7">
            <a:extLst>
              <a:ext uri="{FF2B5EF4-FFF2-40B4-BE49-F238E27FC236}">
                <a16:creationId xmlns:a16="http://schemas.microsoft.com/office/drawing/2014/main" id="{770E4907-7092-9B63-7FE6-9C244B0CA4D4}"/>
              </a:ext>
            </a:extLst>
          </p:cNvPr>
          <p:cNvSpPr>
            <a:spLocks/>
          </p:cNvSpPr>
          <p:nvPr/>
        </p:nvSpPr>
        <p:spPr bwMode="auto">
          <a:xfrm>
            <a:off x="7706503" y="37546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122E4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Freeform 13">
            <a:extLst>
              <a:ext uri="{FF2B5EF4-FFF2-40B4-BE49-F238E27FC236}">
                <a16:creationId xmlns:a16="http://schemas.microsoft.com/office/drawing/2014/main" id="{C9E9AD93-5795-6D7F-FA02-FB567C068335}"/>
              </a:ext>
            </a:extLst>
          </p:cNvPr>
          <p:cNvSpPr>
            <a:spLocks/>
          </p:cNvSpPr>
          <p:nvPr/>
        </p:nvSpPr>
        <p:spPr bwMode="auto">
          <a:xfrm>
            <a:off x="7204504" y="37546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Freeform 7">
            <a:extLst>
              <a:ext uri="{FF2B5EF4-FFF2-40B4-BE49-F238E27FC236}">
                <a16:creationId xmlns:a16="http://schemas.microsoft.com/office/drawing/2014/main" id="{670FB012-37BC-3C97-165C-6FB250879EEA}"/>
              </a:ext>
            </a:extLst>
          </p:cNvPr>
          <p:cNvSpPr>
            <a:spLocks/>
          </p:cNvSpPr>
          <p:nvPr/>
        </p:nvSpPr>
        <p:spPr bwMode="auto">
          <a:xfrm>
            <a:off x="7706503" y="46245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Freeform 10">
            <a:extLst>
              <a:ext uri="{FF2B5EF4-FFF2-40B4-BE49-F238E27FC236}">
                <a16:creationId xmlns:a16="http://schemas.microsoft.com/office/drawing/2014/main" id="{5CBEC9AB-F839-8639-1977-1CD4EB2866BF}"/>
              </a:ext>
            </a:extLst>
          </p:cNvPr>
          <p:cNvSpPr>
            <a:spLocks/>
          </p:cNvSpPr>
          <p:nvPr/>
        </p:nvSpPr>
        <p:spPr bwMode="auto">
          <a:xfrm>
            <a:off x="8206106" y="37546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Freeform 5">
            <a:extLst>
              <a:ext uri="{FF2B5EF4-FFF2-40B4-BE49-F238E27FC236}">
                <a16:creationId xmlns:a16="http://schemas.microsoft.com/office/drawing/2014/main" id="{70848451-CAAE-72DE-613B-D3409A8D7600}"/>
              </a:ext>
            </a:extLst>
          </p:cNvPr>
          <p:cNvSpPr>
            <a:spLocks/>
          </p:cNvSpPr>
          <p:nvPr/>
        </p:nvSpPr>
        <p:spPr bwMode="auto">
          <a:xfrm>
            <a:off x="8705709" y="46245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08355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6" name="Freeform 6">
            <a:extLst>
              <a:ext uri="{FF2B5EF4-FFF2-40B4-BE49-F238E27FC236}">
                <a16:creationId xmlns:a16="http://schemas.microsoft.com/office/drawing/2014/main" id="{76B83D6E-A927-BC93-7FF9-A2DBD45CA972}"/>
              </a:ext>
            </a:extLst>
          </p:cNvPr>
          <p:cNvSpPr>
            <a:spLocks/>
          </p:cNvSpPr>
          <p:nvPr/>
        </p:nvSpPr>
        <p:spPr bwMode="auto">
          <a:xfrm>
            <a:off x="6704900"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7" name="Freeform 6">
            <a:extLst>
              <a:ext uri="{FF2B5EF4-FFF2-40B4-BE49-F238E27FC236}">
                <a16:creationId xmlns:a16="http://schemas.microsoft.com/office/drawing/2014/main" id="{496C9865-38D4-5E4D-8B03-25A64D86186B}"/>
              </a:ext>
            </a:extLst>
          </p:cNvPr>
          <p:cNvSpPr>
            <a:spLocks/>
          </p:cNvSpPr>
          <p:nvPr/>
        </p:nvSpPr>
        <p:spPr bwMode="auto">
          <a:xfrm>
            <a:off x="9699292" y="46245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8" name="Freeform 10">
            <a:extLst>
              <a:ext uri="{FF2B5EF4-FFF2-40B4-BE49-F238E27FC236}">
                <a16:creationId xmlns:a16="http://schemas.microsoft.com/office/drawing/2014/main" id="{DF13142F-8339-EA25-33EF-FBC363408344}"/>
              </a:ext>
            </a:extLst>
          </p:cNvPr>
          <p:cNvSpPr>
            <a:spLocks/>
          </p:cNvSpPr>
          <p:nvPr/>
        </p:nvSpPr>
        <p:spPr bwMode="auto">
          <a:xfrm rot="10800000">
            <a:off x="8704878" y="28884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5">
            <a:extLst>
              <a:ext uri="{FF2B5EF4-FFF2-40B4-BE49-F238E27FC236}">
                <a16:creationId xmlns:a16="http://schemas.microsoft.com/office/drawing/2014/main" id="{46EFF813-CF62-A96D-16DD-B96E1839867B}"/>
              </a:ext>
            </a:extLst>
          </p:cNvPr>
          <p:cNvSpPr>
            <a:spLocks/>
          </p:cNvSpPr>
          <p:nvPr/>
        </p:nvSpPr>
        <p:spPr bwMode="auto">
          <a:xfrm rot="10800000">
            <a:off x="9204483" y="46244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6">
            <a:extLst>
              <a:ext uri="{FF2B5EF4-FFF2-40B4-BE49-F238E27FC236}">
                <a16:creationId xmlns:a16="http://schemas.microsoft.com/office/drawing/2014/main" id="{BCB697C7-13B8-FC92-BFF8-711A84A19493}"/>
              </a:ext>
            </a:extLst>
          </p:cNvPr>
          <p:cNvSpPr>
            <a:spLocks/>
          </p:cNvSpPr>
          <p:nvPr/>
        </p:nvSpPr>
        <p:spPr bwMode="auto">
          <a:xfrm rot="10800000">
            <a:off x="9204483" y="37546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7">
            <a:extLst>
              <a:ext uri="{FF2B5EF4-FFF2-40B4-BE49-F238E27FC236}">
                <a16:creationId xmlns:a16="http://schemas.microsoft.com/office/drawing/2014/main" id="{451AC84C-6E70-472D-1290-9AA94E3289A6}"/>
              </a:ext>
            </a:extLst>
          </p:cNvPr>
          <p:cNvSpPr>
            <a:spLocks/>
          </p:cNvSpPr>
          <p:nvPr/>
        </p:nvSpPr>
        <p:spPr bwMode="auto">
          <a:xfrm rot="10800000">
            <a:off x="8704878" y="37546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5">
            <a:extLst>
              <a:ext uri="{FF2B5EF4-FFF2-40B4-BE49-F238E27FC236}">
                <a16:creationId xmlns:a16="http://schemas.microsoft.com/office/drawing/2014/main" id="{3C43B185-D2CB-AF1C-0E39-AAF96D7B35EA}"/>
              </a:ext>
            </a:extLst>
          </p:cNvPr>
          <p:cNvSpPr>
            <a:spLocks/>
          </p:cNvSpPr>
          <p:nvPr/>
        </p:nvSpPr>
        <p:spPr bwMode="auto">
          <a:xfrm rot="10800000">
            <a:off x="8202879" y="28884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6">
            <a:extLst>
              <a:ext uri="{FF2B5EF4-FFF2-40B4-BE49-F238E27FC236}">
                <a16:creationId xmlns:a16="http://schemas.microsoft.com/office/drawing/2014/main" id="{FA6D9FA5-C4A3-BAC3-EE6B-0941FED02C11}"/>
              </a:ext>
            </a:extLst>
          </p:cNvPr>
          <p:cNvSpPr>
            <a:spLocks/>
          </p:cNvSpPr>
          <p:nvPr/>
        </p:nvSpPr>
        <p:spPr bwMode="auto">
          <a:xfrm>
            <a:off x="8199285" y="20222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TextBox 38">
            <a:extLst>
              <a:ext uri="{FF2B5EF4-FFF2-40B4-BE49-F238E27FC236}">
                <a16:creationId xmlns:a16="http://schemas.microsoft.com/office/drawing/2014/main" id="{1283036E-E90E-E358-162E-9AE34DC660AD}"/>
              </a:ext>
            </a:extLst>
          </p:cNvPr>
          <p:cNvSpPr txBox="1"/>
          <p:nvPr/>
        </p:nvSpPr>
        <p:spPr>
          <a:xfrm>
            <a:off x="5050001" y="1807617"/>
            <a:ext cx="1461170" cy="400110"/>
          </a:xfrm>
          <a:prstGeom prst="rect">
            <a:avLst/>
          </a:prstGeom>
          <a:noFill/>
        </p:spPr>
        <p:txBody>
          <a:bodyPr wrap="none" rtlCol="0" anchor="ctr" anchorCtr="0">
            <a:spAutoFit/>
          </a:bodyPr>
          <a:lstStyle/>
          <a:p>
            <a:pPr algn="r"/>
            <a:r>
              <a:rPr lang="en-GB" sz="2000" b="1" dirty="0">
                <a:solidFill>
                  <a:srgbClr val="7F1C58"/>
                </a:solidFill>
                <a:latin typeface="+mj-lt"/>
                <a:ea typeface="League Spartan" charset="0"/>
                <a:cs typeface="Poppins" pitchFamily="2" charset="77"/>
              </a:rPr>
              <a:t>Συνεργασία</a:t>
            </a:r>
          </a:p>
        </p:txBody>
      </p:sp>
      <p:sp>
        <p:nvSpPr>
          <p:cNvPr id="25" name="TextBox 40">
            <a:extLst>
              <a:ext uri="{FF2B5EF4-FFF2-40B4-BE49-F238E27FC236}">
                <a16:creationId xmlns:a16="http://schemas.microsoft.com/office/drawing/2014/main" id="{D7A797AF-5D73-A407-1329-5D38DD292FAE}"/>
              </a:ext>
            </a:extLst>
          </p:cNvPr>
          <p:cNvSpPr txBox="1"/>
          <p:nvPr/>
        </p:nvSpPr>
        <p:spPr>
          <a:xfrm>
            <a:off x="4427651" y="2663068"/>
            <a:ext cx="2083520" cy="400110"/>
          </a:xfrm>
          <a:prstGeom prst="rect">
            <a:avLst/>
          </a:prstGeom>
          <a:noFill/>
        </p:spPr>
        <p:txBody>
          <a:bodyPr wrap="none" rtlCol="0" anchor="ctr" anchorCtr="0">
            <a:spAutoFit/>
          </a:bodyPr>
          <a:lstStyle/>
          <a:p>
            <a:pPr algn="r"/>
            <a:r>
              <a:rPr lang="en-GB" sz="2000" b="1" dirty="0">
                <a:solidFill>
                  <a:srgbClr val="B41F7A"/>
                </a:solidFill>
                <a:latin typeface="+mj-lt"/>
                <a:ea typeface="League Spartan" charset="0"/>
                <a:cs typeface="Poppins" pitchFamily="2" charset="77"/>
              </a:rPr>
              <a:t>Κοινά συμφέροντα</a:t>
            </a:r>
          </a:p>
        </p:txBody>
      </p:sp>
      <p:sp>
        <p:nvSpPr>
          <p:cNvPr id="26" name="TextBox 42">
            <a:extLst>
              <a:ext uri="{FF2B5EF4-FFF2-40B4-BE49-F238E27FC236}">
                <a16:creationId xmlns:a16="http://schemas.microsoft.com/office/drawing/2014/main" id="{B1718EC1-5F79-DD03-41C1-159A4ACF974F}"/>
              </a:ext>
            </a:extLst>
          </p:cNvPr>
          <p:cNvSpPr txBox="1"/>
          <p:nvPr/>
        </p:nvSpPr>
        <p:spPr>
          <a:xfrm>
            <a:off x="5018325" y="3529287"/>
            <a:ext cx="1492846" cy="400110"/>
          </a:xfrm>
          <a:prstGeom prst="rect">
            <a:avLst/>
          </a:prstGeom>
          <a:noFill/>
        </p:spPr>
        <p:txBody>
          <a:bodyPr wrap="none" rtlCol="0" anchor="ctr" anchorCtr="0">
            <a:spAutoFit/>
          </a:bodyPr>
          <a:lstStyle/>
          <a:p>
            <a:pPr algn="r"/>
            <a:r>
              <a:rPr lang="en-GB" sz="2000" b="1" dirty="0">
                <a:solidFill>
                  <a:srgbClr val="083553"/>
                </a:solidFill>
                <a:latin typeface="+mj-lt"/>
                <a:ea typeface="League Spartan" charset="0"/>
                <a:cs typeface="Poppins" pitchFamily="2" charset="77"/>
              </a:rPr>
              <a:t>Προσδοκίες</a:t>
            </a:r>
          </a:p>
        </p:txBody>
      </p:sp>
      <p:sp>
        <p:nvSpPr>
          <p:cNvPr id="27" name="TextBox 44">
            <a:extLst>
              <a:ext uri="{FF2B5EF4-FFF2-40B4-BE49-F238E27FC236}">
                <a16:creationId xmlns:a16="http://schemas.microsoft.com/office/drawing/2014/main" id="{0D707CC2-C447-FA1D-2D39-03884853DCC6}"/>
              </a:ext>
            </a:extLst>
          </p:cNvPr>
          <p:cNvSpPr txBox="1"/>
          <p:nvPr/>
        </p:nvSpPr>
        <p:spPr>
          <a:xfrm>
            <a:off x="5115724" y="4399101"/>
            <a:ext cx="1395447" cy="400110"/>
          </a:xfrm>
          <a:prstGeom prst="rect">
            <a:avLst/>
          </a:prstGeom>
          <a:noFill/>
        </p:spPr>
        <p:txBody>
          <a:bodyPr wrap="none" rtlCol="0" anchor="ctr" anchorCtr="0">
            <a:spAutoFit/>
          </a:bodyPr>
          <a:lstStyle/>
          <a:p>
            <a:pPr algn="r"/>
            <a:r>
              <a:rPr lang="en-GB" sz="2000" b="1" dirty="0">
                <a:solidFill>
                  <a:srgbClr val="F16924"/>
                </a:solidFill>
                <a:latin typeface="+mj-lt"/>
                <a:ea typeface="League Spartan" charset="0"/>
                <a:cs typeface="Poppins" pitchFamily="2" charset="77"/>
              </a:rPr>
              <a:t>Αντιλήψεις</a:t>
            </a:r>
          </a:p>
        </p:txBody>
      </p:sp>
      <p:sp>
        <p:nvSpPr>
          <p:cNvPr id="29" name="TextBox 34">
            <a:extLst>
              <a:ext uri="{FF2B5EF4-FFF2-40B4-BE49-F238E27FC236}">
                <a16:creationId xmlns:a16="http://schemas.microsoft.com/office/drawing/2014/main" id="{A7090DD5-AA3F-8EA2-3A0A-4A4E2157F9F3}"/>
              </a:ext>
            </a:extLst>
          </p:cNvPr>
          <p:cNvSpPr txBox="1"/>
          <p:nvPr/>
        </p:nvSpPr>
        <p:spPr>
          <a:xfrm>
            <a:off x="6096000" y="5708384"/>
            <a:ext cx="5129737" cy="430887"/>
          </a:xfrm>
          <a:prstGeom prst="rect">
            <a:avLst/>
          </a:prstGeom>
          <a:noFill/>
        </p:spPr>
        <p:txBody>
          <a:bodyPr wrap="square" rtlCol="0" anchor="b" anchorCtr="0">
            <a:spAutoFit/>
          </a:bodyPr>
          <a:lstStyle/>
          <a:p>
            <a:pPr algn="ctr"/>
            <a:r>
              <a:rPr lang="en-GB" sz="2200" b="1" dirty="0">
                <a:solidFill>
                  <a:srgbClr val="7F1C58"/>
                </a:solidFill>
                <a:latin typeface="+mj-lt"/>
                <a:ea typeface="League Spartan" charset="0"/>
                <a:cs typeface="Poppins" pitchFamily="2" charset="77"/>
              </a:rPr>
              <a:t>Διαχείριση των σχέσεων με τα ενδιαφερόμενα μέρη</a:t>
            </a:r>
          </a:p>
        </p:txBody>
      </p:sp>
      <p:cxnSp>
        <p:nvCxnSpPr>
          <p:cNvPr id="30" name="Straight Arrow Connector 26">
            <a:extLst>
              <a:ext uri="{FF2B5EF4-FFF2-40B4-BE49-F238E27FC236}">
                <a16:creationId xmlns:a16="http://schemas.microsoft.com/office/drawing/2014/main" id="{306502D9-D0D5-D8C2-9FEF-64A9BB1F0C2A}"/>
              </a:ext>
            </a:extLst>
          </p:cNvPr>
          <p:cNvCxnSpPr>
            <a:cxnSpLocks/>
          </p:cNvCxnSpPr>
          <p:nvPr/>
        </p:nvCxnSpPr>
        <p:spPr>
          <a:xfrm flipH="1">
            <a:off x="6600421" y="2071759"/>
            <a:ext cx="2098467" cy="1"/>
          </a:xfrm>
          <a:prstGeom prst="straightConnector1">
            <a:avLst/>
          </a:prstGeom>
          <a:ln w="38100" cap="rnd">
            <a:solidFill>
              <a:srgbClr val="7F1C58"/>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8681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2"/>
            <a:ext cx="3410380" cy="2646851"/>
          </a:xfrm>
        </p:spPr>
        <p:txBody>
          <a:bodyPr>
            <a:normAutofit/>
          </a:bodyPr>
          <a:lstStyle/>
          <a:p>
            <a:r>
              <a:rPr lang="en-GB" sz="3200" dirty="0">
                <a:solidFill>
                  <a:schemeClr val="bg1"/>
                </a:solidFill>
              </a:rPr>
              <a:t>Ευθύνες για την επικοινωνία με τα ενδιαφερόμενα μέρη σε κρίση</a:t>
            </a:r>
          </a:p>
        </p:txBody>
      </p:sp>
      <p:sp>
        <p:nvSpPr>
          <p:cNvPr id="8" name="Rectangle 7">
            <a:extLst>
              <a:ext uri="{FF2B5EF4-FFF2-40B4-BE49-F238E27FC236}">
                <a16:creationId xmlns:a16="http://schemas.microsoft.com/office/drawing/2014/main" id="{14F9744D-3107-97CB-5B61-61E5B24B2E44}"/>
              </a:ext>
            </a:extLst>
          </p:cNvPr>
          <p:cNvSpPr/>
          <p:nvPr/>
        </p:nvSpPr>
        <p:spPr>
          <a:xfrm>
            <a:off x="524792" y="2893062"/>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89" name="Group 88">
            <a:extLst>
              <a:ext uri="{FF2B5EF4-FFF2-40B4-BE49-F238E27FC236}">
                <a16:creationId xmlns:a16="http://schemas.microsoft.com/office/drawing/2014/main" id="{610706A0-3EF0-ED51-DEB0-0C4B725F20A0}"/>
              </a:ext>
            </a:extLst>
          </p:cNvPr>
          <p:cNvGrpSpPr/>
          <p:nvPr/>
        </p:nvGrpSpPr>
        <p:grpSpPr>
          <a:xfrm>
            <a:off x="5008819" y="491602"/>
            <a:ext cx="6656912" cy="6165792"/>
            <a:chOff x="4143298" y="527426"/>
            <a:chExt cx="6646615" cy="6156254"/>
          </a:xfrm>
        </p:grpSpPr>
        <p:grpSp>
          <p:nvGrpSpPr>
            <p:cNvPr id="34" name="Gruppieren 3">
              <a:extLst>
                <a:ext uri="{FF2B5EF4-FFF2-40B4-BE49-F238E27FC236}">
                  <a16:creationId xmlns:a16="http://schemas.microsoft.com/office/drawing/2014/main" id="{654492DE-7156-288B-9D6B-5E7442754EB9}"/>
                </a:ext>
              </a:extLst>
            </p:cNvPr>
            <p:cNvGrpSpPr>
              <a:grpSpLocks noChangeAspect="1"/>
            </p:cNvGrpSpPr>
            <p:nvPr/>
          </p:nvGrpSpPr>
          <p:grpSpPr>
            <a:xfrm>
              <a:off x="4798508" y="601751"/>
              <a:ext cx="5210499" cy="5405477"/>
              <a:chOff x="6275234" y="2175839"/>
              <a:chExt cx="2856886" cy="2963790"/>
            </a:xfrm>
          </p:grpSpPr>
          <p:sp>
            <p:nvSpPr>
              <p:cNvPr id="35" name="Freeform: Shape 8784">
                <a:extLst>
                  <a:ext uri="{FF2B5EF4-FFF2-40B4-BE49-F238E27FC236}">
                    <a16:creationId xmlns:a16="http://schemas.microsoft.com/office/drawing/2014/main" id="{DFD4A9B1-7E6F-853A-7CF0-9AC4FD15B7E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6" name="Freeform: Shape 8785">
                <a:extLst>
                  <a:ext uri="{FF2B5EF4-FFF2-40B4-BE49-F238E27FC236}">
                    <a16:creationId xmlns:a16="http://schemas.microsoft.com/office/drawing/2014/main" id="{C5979183-2AB0-8E1D-3381-9561EC48035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7" name="Freeform: Shape 8786">
                <a:extLst>
                  <a:ext uri="{FF2B5EF4-FFF2-40B4-BE49-F238E27FC236}">
                    <a16:creationId xmlns:a16="http://schemas.microsoft.com/office/drawing/2014/main" id="{BC590490-E2A6-8DAF-2C33-C53443E0AC82}"/>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8" name="Freeform: Shape 8788">
                <a:extLst>
                  <a:ext uri="{FF2B5EF4-FFF2-40B4-BE49-F238E27FC236}">
                    <a16:creationId xmlns:a16="http://schemas.microsoft.com/office/drawing/2014/main" id="{2612FFF6-D2AF-C4F5-2E58-33E1531FA8C2}"/>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39" name="Freeform: Shape 8789">
                <a:extLst>
                  <a:ext uri="{FF2B5EF4-FFF2-40B4-BE49-F238E27FC236}">
                    <a16:creationId xmlns:a16="http://schemas.microsoft.com/office/drawing/2014/main" id="{72D64348-8B19-64BE-229A-5E9500050ADF}"/>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0" name="Freeform: Shape 8790">
                <a:extLst>
                  <a:ext uri="{FF2B5EF4-FFF2-40B4-BE49-F238E27FC236}">
                    <a16:creationId xmlns:a16="http://schemas.microsoft.com/office/drawing/2014/main" id="{AD21809D-599C-3CE2-C719-AE857C077FE3}"/>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1" name="Freeform: Shape 8791">
                <a:extLst>
                  <a:ext uri="{FF2B5EF4-FFF2-40B4-BE49-F238E27FC236}">
                    <a16:creationId xmlns:a16="http://schemas.microsoft.com/office/drawing/2014/main" id="{1CF06A42-6DE2-EA70-8EC0-920FE6347690}"/>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2" name="Freeform: Shape 8792">
                <a:extLst>
                  <a:ext uri="{FF2B5EF4-FFF2-40B4-BE49-F238E27FC236}">
                    <a16:creationId xmlns:a16="http://schemas.microsoft.com/office/drawing/2014/main" id="{196007F5-AB8E-4304-BBE8-FEFDEA732562}"/>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3" name="Freeform: Shape 8793">
                <a:extLst>
                  <a:ext uri="{FF2B5EF4-FFF2-40B4-BE49-F238E27FC236}">
                    <a16:creationId xmlns:a16="http://schemas.microsoft.com/office/drawing/2014/main" id="{40B035CC-9272-4159-994B-7813DFA1340B}"/>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4" name="Freeform: Shape 8794">
                <a:extLst>
                  <a:ext uri="{FF2B5EF4-FFF2-40B4-BE49-F238E27FC236}">
                    <a16:creationId xmlns:a16="http://schemas.microsoft.com/office/drawing/2014/main" id="{8849927B-CD71-191D-A913-B2EFBB9A5186}"/>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5" name="Freeform: Shape 8795">
                <a:extLst>
                  <a:ext uri="{FF2B5EF4-FFF2-40B4-BE49-F238E27FC236}">
                    <a16:creationId xmlns:a16="http://schemas.microsoft.com/office/drawing/2014/main" id="{AF2FB709-3B3C-D57E-E2EF-0B5C02E95E09}"/>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46" name="Freeform: Shape 8796">
                <a:extLst>
                  <a:ext uri="{FF2B5EF4-FFF2-40B4-BE49-F238E27FC236}">
                    <a16:creationId xmlns:a16="http://schemas.microsoft.com/office/drawing/2014/main" id="{CE313029-4CC0-E36B-347E-ABAF100340C6}"/>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0" name="Freeform: Shape 8797">
                <a:extLst>
                  <a:ext uri="{FF2B5EF4-FFF2-40B4-BE49-F238E27FC236}">
                    <a16:creationId xmlns:a16="http://schemas.microsoft.com/office/drawing/2014/main" id="{2A426172-C95C-256C-FC20-463430D58CCE}"/>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1" name="Freeform: Shape 8798">
                <a:extLst>
                  <a:ext uri="{FF2B5EF4-FFF2-40B4-BE49-F238E27FC236}">
                    <a16:creationId xmlns:a16="http://schemas.microsoft.com/office/drawing/2014/main" id="{9306FDC1-25F6-B367-C142-BE7FC30AFBF7}"/>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2" name="Freeform: Shape 8799">
                <a:extLst>
                  <a:ext uri="{FF2B5EF4-FFF2-40B4-BE49-F238E27FC236}">
                    <a16:creationId xmlns:a16="http://schemas.microsoft.com/office/drawing/2014/main" id="{51347222-AD29-621B-EFC1-8C272E2214DD}"/>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rgbClr val="7F1C58"/>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sp>
            <p:nvSpPr>
              <p:cNvPr id="63" name="Freeform: Shape 8800">
                <a:extLst>
                  <a:ext uri="{FF2B5EF4-FFF2-40B4-BE49-F238E27FC236}">
                    <a16:creationId xmlns:a16="http://schemas.microsoft.com/office/drawing/2014/main" id="{C22BDEDF-97A2-75E0-7D94-9D9EB4C4FE2D}"/>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latin typeface="Calibri" panose="020F0502020204030204" pitchFamily="34" charset="0"/>
                  <a:ea typeface="Arial Unicode MS" pitchFamily="2"/>
                  <a:cs typeface="Calibri" panose="020F0502020204030204" pitchFamily="34" charset="0"/>
                </a:endParaRPr>
              </a:p>
            </p:txBody>
          </p:sp>
        </p:grpSp>
        <p:sp>
          <p:nvSpPr>
            <p:cNvPr id="64" name="Ellipse 78">
              <a:extLst>
                <a:ext uri="{FF2B5EF4-FFF2-40B4-BE49-F238E27FC236}">
                  <a16:creationId xmlns:a16="http://schemas.microsoft.com/office/drawing/2014/main" id="{AEB92706-8A40-27A8-31E9-BE50690A63CD}"/>
                </a:ext>
              </a:extLst>
            </p:cNvPr>
            <p:cNvSpPr>
              <a:spLocks noChangeAspect="1"/>
            </p:cNvSpPr>
            <p:nvPr/>
          </p:nvSpPr>
          <p:spPr>
            <a:xfrm>
              <a:off x="5649778" y="1713746"/>
              <a:ext cx="3399114" cy="3399114"/>
            </a:xfrm>
            <a:prstGeom prst="ellipse">
              <a:avLst/>
            </a:pr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595959"/>
                </a:solidFill>
                <a:latin typeface="Calibri" panose="020F0502020204030204" pitchFamily="34" charset="0"/>
                <a:cs typeface="Calibri" panose="020F0502020204030204" pitchFamily="34" charset="0"/>
              </a:endParaRPr>
            </a:p>
          </p:txBody>
        </p:sp>
        <p:sp>
          <p:nvSpPr>
            <p:cNvPr id="65" name="Ellipse 4">
              <a:extLst>
                <a:ext uri="{FF2B5EF4-FFF2-40B4-BE49-F238E27FC236}">
                  <a16:creationId xmlns:a16="http://schemas.microsoft.com/office/drawing/2014/main" id="{2338FB02-6AF0-BCF2-1DDB-2DD964D63553}"/>
                </a:ext>
              </a:extLst>
            </p:cNvPr>
            <p:cNvSpPr/>
            <p:nvPr/>
          </p:nvSpPr>
          <p:spPr>
            <a:xfrm>
              <a:off x="6660600" y="2707232"/>
              <a:ext cx="1357767" cy="13577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595959"/>
                </a:solidFill>
                <a:latin typeface="Calibri" panose="020F0502020204030204" pitchFamily="34" charset="0"/>
                <a:cs typeface="Calibri" panose="020F0502020204030204" pitchFamily="34" charset="0"/>
              </a:endParaRPr>
            </a:p>
          </p:txBody>
        </p:sp>
        <p:sp>
          <p:nvSpPr>
            <p:cNvPr id="66" name="Textfeld 5">
              <a:extLst>
                <a:ext uri="{FF2B5EF4-FFF2-40B4-BE49-F238E27FC236}">
                  <a16:creationId xmlns:a16="http://schemas.microsoft.com/office/drawing/2014/main" id="{7F6FFAD1-FEBC-FC39-B1C3-B70B9B8E2BAC}"/>
                </a:ext>
              </a:extLst>
            </p:cNvPr>
            <p:cNvSpPr txBox="1"/>
            <p:nvPr/>
          </p:nvSpPr>
          <p:spPr>
            <a:xfrm>
              <a:off x="6065150" y="2672846"/>
              <a:ext cx="473883"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CSR</a:t>
              </a:r>
            </a:p>
          </p:txBody>
        </p:sp>
        <p:sp>
          <p:nvSpPr>
            <p:cNvPr id="67" name="Textfeld 79">
              <a:extLst>
                <a:ext uri="{FF2B5EF4-FFF2-40B4-BE49-F238E27FC236}">
                  <a16:creationId xmlns:a16="http://schemas.microsoft.com/office/drawing/2014/main" id="{C17D724C-344B-C109-DEFD-8419C5F793E5}"/>
                </a:ext>
              </a:extLst>
            </p:cNvPr>
            <p:cNvSpPr txBox="1"/>
            <p:nvPr/>
          </p:nvSpPr>
          <p:spPr>
            <a:xfrm>
              <a:off x="6367198" y="2075690"/>
              <a:ext cx="978423"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Μάρκετινγκ</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8" name="Textfeld 80">
              <a:extLst>
                <a:ext uri="{FF2B5EF4-FFF2-40B4-BE49-F238E27FC236}">
                  <a16:creationId xmlns:a16="http://schemas.microsoft.com/office/drawing/2014/main" id="{EE1A9143-795B-4635-3676-6B65777BBF34}"/>
                </a:ext>
              </a:extLst>
            </p:cNvPr>
            <p:cNvSpPr txBox="1"/>
            <p:nvPr/>
          </p:nvSpPr>
          <p:spPr>
            <a:xfrm>
              <a:off x="7469843" y="1990109"/>
              <a:ext cx="599815" cy="653154"/>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Πωλήσεις</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Δύναμη</a:t>
              </a:r>
              <a:br>
                <a:rPr lang="en-GB" sz="1500" b="1" dirty="0">
                  <a:solidFill>
                    <a:schemeClr val="bg1"/>
                  </a:solidFill>
                  <a:latin typeface="Calibri" panose="020F0502020204030204" pitchFamily="34" charset="0"/>
                  <a:cs typeface="Calibri" panose="020F0502020204030204" pitchFamily="34" charset="0"/>
                </a:rPr>
              </a:br>
              <a:endParaRPr lang="en-GB" sz="1500" b="1" dirty="0">
                <a:solidFill>
                  <a:schemeClr val="bg1"/>
                </a:solidFill>
                <a:latin typeface="Calibri" panose="020F0502020204030204" pitchFamily="34" charset="0"/>
                <a:cs typeface="Calibri" panose="020F0502020204030204" pitchFamily="34" charset="0"/>
              </a:endParaRPr>
            </a:p>
          </p:txBody>
        </p:sp>
        <p:sp>
          <p:nvSpPr>
            <p:cNvPr id="69" name="Textfeld 81">
              <a:extLst>
                <a:ext uri="{FF2B5EF4-FFF2-40B4-BE49-F238E27FC236}">
                  <a16:creationId xmlns:a16="http://schemas.microsoft.com/office/drawing/2014/main" id="{2D8E8A46-45BB-D239-2F10-E7211924BF59}"/>
                </a:ext>
              </a:extLst>
            </p:cNvPr>
            <p:cNvSpPr txBox="1"/>
            <p:nvPr/>
          </p:nvSpPr>
          <p:spPr>
            <a:xfrm>
              <a:off x="7863409" y="2716958"/>
              <a:ext cx="1021169"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Αγορές</a:t>
              </a:r>
            </a:p>
          </p:txBody>
        </p:sp>
        <p:sp>
          <p:nvSpPr>
            <p:cNvPr id="70" name="Textfeld 82">
              <a:extLst>
                <a:ext uri="{FF2B5EF4-FFF2-40B4-BE49-F238E27FC236}">
                  <a16:creationId xmlns:a16="http://schemas.microsoft.com/office/drawing/2014/main" id="{259FF5AD-3440-6B52-2B85-F7385200AD94}"/>
                </a:ext>
              </a:extLst>
            </p:cNvPr>
            <p:cNvSpPr txBox="1"/>
            <p:nvPr/>
          </p:nvSpPr>
          <p:spPr>
            <a:xfrm>
              <a:off x="8081211" y="3303780"/>
              <a:ext cx="897792"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Επενδυτής</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Σχέσεις</a:t>
              </a:r>
            </a:p>
          </p:txBody>
        </p:sp>
        <p:sp>
          <p:nvSpPr>
            <p:cNvPr id="71" name="Textfeld 84">
              <a:extLst>
                <a:ext uri="{FF2B5EF4-FFF2-40B4-BE49-F238E27FC236}">
                  <a16:creationId xmlns:a16="http://schemas.microsoft.com/office/drawing/2014/main" id="{2FFAE31D-DCA2-A41D-E132-4EA79D4C967D}"/>
                </a:ext>
              </a:extLst>
            </p:cNvPr>
            <p:cNvSpPr txBox="1"/>
            <p:nvPr/>
          </p:nvSpPr>
          <p:spPr>
            <a:xfrm>
              <a:off x="7803138" y="4106102"/>
              <a:ext cx="536194"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Ε&amp;Α</a:t>
              </a:r>
            </a:p>
          </p:txBody>
        </p:sp>
        <p:sp>
          <p:nvSpPr>
            <p:cNvPr id="72" name="Textfeld 85">
              <a:extLst>
                <a:ext uri="{FF2B5EF4-FFF2-40B4-BE49-F238E27FC236}">
                  <a16:creationId xmlns:a16="http://schemas.microsoft.com/office/drawing/2014/main" id="{75246B01-E046-2599-2E40-F0B1F1774961}"/>
                </a:ext>
              </a:extLst>
            </p:cNvPr>
            <p:cNvSpPr txBox="1"/>
            <p:nvPr/>
          </p:nvSpPr>
          <p:spPr>
            <a:xfrm>
              <a:off x="7127082" y="4356014"/>
              <a:ext cx="403781" cy="279282"/>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HR</a:t>
              </a:r>
            </a:p>
          </p:txBody>
        </p:sp>
        <p:sp>
          <p:nvSpPr>
            <p:cNvPr id="73" name="Textfeld 86">
              <a:extLst>
                <a:ext uri="{FF2B5EF4-FFF2-40B4-BE49-F238E27FC236}">
                  <a16:creationId xmlns:a16="http://schemas.microsoft.com/office/drawing/2014/main" id="{C23048EF-A7C3-E324-B3A2-DF3852DE6547}"/>
                </a:ext>
              </a:extLst>
            </p:cNvPr>
            <p:cNvSpPr txBox="1"/>
            <p:nvPr/>
          </p:nvSpPr>
          <p:spPr>
            <a:xfrm>
              <a:off x="6017167" y="4083688"/>
              <a:ext cx="957985" cy="466219"/>
            </a:xfrm>
            <a:prstGeom prst="rect">
              <a:avLst/>
            </a:prstGeom>
            <a:noFill/>
          </p:spPr>
          <p:txBody>
            <a:bodyPr wrap="none" rtlCol="0">
              <a:spAutoFit/>
            </a:bodyPr>
            <a:lstStyle/>
            <a:p>
              <a:pPr algn="ctr">
                <a:lnSpc>
                  <a:spcPts val="1520"/>
                </a:lnSpc>
              </a:pPr>
              <a:r>
                <a:rPr lang="en-GB" sz="1500" b="1" dirty="0">
                  <a:solidFill>
                    <a:schemeClr val="bg1"/>
                  </a:solidFill>
                  <a:latin typeface="Calibri" panose="020F0502020204030204" pitchFamily="34" charset="0"/>
                  <a:cs typeface="Calibri" panose="020F0502020204030204" pitchFamily="34" charset="0"/>
                </a:rPr>
                <a:t>Εταιρικό</a:t>
              </a:r>
              <a:br>
                <a:rPr lang="en-GB" sz="1500" b="1" dirty="0">
                  <a:solidFill>
                    <a:schemeClr val="bg1"/>
                  </a:solidFill>
                  <a:latin typeface="Calibri" panose="020F0502020204030204" pitchFamily="34" charset="0"/>
                  <a:cs typeface="Calibri" panose="020F0502020204030204" pitchFamily="34" charset="0"/>
                </a:rPr>
              </a:br>
              <a:r>
                <a:rPr lang="en-GB" sz="1500" b="1" dirty="0">
                  <a:solidFill>
                    <a:schemeClr val="bg1"/>
                  </a:solidFill>
                  <a:latin typeface="Calibri" panose="020F0502020204030204" pitchFamily="34" charset="0"/>
                  <a:cs typeface="Calibri" panose="020F0502020204030204" pitchFamily="34" charset="0"/>
                </a:rPr>
                <a:t>Υποθέσεις</a:t>
              </a:r>
            </a:p>
          </p:txBody>
        </p:sp>
        <p:sp>
          <p:nvSpPr>
            <p:cNvPr id="74" name="Textfeld 87">
              <a:extLst>
                <a:ext uri="{FF2B5EF4-FFF2-40B4-BE49-F238E27FC236}">
                  <a16:creationId xmlns:a16="http://schemas.microsoft.com/office/drawing/2014/main" id="{36E48ACD-F4A7-C672-68C1-3E92704BD780}"/>
                </a:ext>
              </a:extLst>
            </p:cNvPr>
            <p:cNvSpPr txBox="1"/>
            <p:nvPr/>
          </p:nvSpPr>
          <p:spPr>
            <a:xfrm>
              <a:off x="4143298" y="1613724"/>
              <a:ext cx="1293177" cy="752770"/>
            </a:xfrm>
            <a:prstGeom prst="rect">
              <a:avLst/>
            </a:prstGeom>
            <a:noFill/>
          </p:spPr>
          <p:txBody>
            <a:bodyPr wrap="square" rtlCol="0">
              <a:spAutoFit/>
            </a:bodyPr>
            <a:lstStyle/>
            <a:p>
              <a:pPr algn="ctr">
                <a:lnSpc>
                  <a:spcPts val="1720"/>
                </a:lnSpc>
              </a:pPr>
              <a:r>
                <a:rPr lang="en-GB" dirty="0">
                  <a:solidFill>
                    <a:srgbClr val="B41F7A"/>
                  </a:solidFill>
                  <a:latin typeface="Calibri" panose="020F0502020204030204" pitchFamily="34" charset="0"/>
                  <a:cs typeface="Calibri" panose="020F0502020204030204" pitchFamily="34" charset="0"/>
                </a:rPr>
                <a:t>Κοινωνικό</a:t>
              </a:r>
              <a:br>
                <a:rPr lang="en-GB" dirty="0">
                  <a:solidFill>
                    <a:srgbClr val="B41F7A"/>
                  </a:solidFill>
                  <a:latin typeface="Calibri" panose="020F0502020204030204" pitchFamily="34" charset="0"/>
                  <a:cs typeface="Calibri" panose="020F0502020204030204" pitchFamily="34" charset="0"/>
                </a:rPr>
              </a:br>
              <a:r>
                <a:rPr lang="en-GB" dirty="0">
                  <a:solidFill>
                    <a:srgbClr val="B41F7A"/>
                  </a:solidFill>
                  <a:latin typeface="Calibri" panose="020F0502020204030204" pitchFamily="34" charset="0"/>
                  <a:cs typeface="Calibri" panose="020F0502020204030204" pitchFamily="34" charset="0"/>
                </a:rPr>
                <a:t>Εταίροι &amp; ΜΚΟ</a:t>
              </a:r>
            </a:p>
          </p:txBody>
        </p:sp>
        <p:sp>
          <p:nvSpPr>
            <p:cNvPr id="76" name="Textfeld 89">
              <a:extLst>
                <a:ext uri="{FF2B5EF4-FFF2-40B4-BE49-F238E27FC236}">
                  <a16:creationId xmlns:a16="http://schemas.microsoft.com/office/drawing/2014/main" id="{CC1A4006-C8BE-3453-1AD8-26A9B35281AE}"/>
                </a:ext>
              </a:extLst>
            </p:cNvPr>
            <p:cNvSpPr txBox="1"/>
            <p:nvPr/>
          </p:nvSpPr>
          <p:spPr>
            <a:xfrm>
              <a:off x="5619283" y="644871"/>
              <a:ext cx="1229054" cy="316753"/>
            </a:xfrm>
            <a:prstGeom prst="rect">
              <a:avLst/>
            </a:prstGeom>
            <a:noFill/>
          </p:spPr>
          <p:txBody>
            <a:bodyPr wrap="none" rtlCol="0">
              <a:spAutoFit/>
            </a:bodyPr>
            <a:lstStyle/>
            <a:p>
              <a:pPr algn="ctr">
                <a:lnSpc>
                  <a:spcPts val="1720"/>
                </a:lnSpc>
              </a:pPr>
              <a:r>
                <a:rPr lang="en-GB" dirty="0">
                  <a:solidFill>
                    <a:srgbClr val="EDA13E"/>
                  </a:solidFill>
                  <a:latin typeface="Calibri" panose="020F0502020204030204" pitchFamily="34" charset="0"/>
                  <a:cs typeface="Calibri" panose="020F0502020204030204" pitchFamily="34" charset="0"/>
                </a:rPr>
                <a:t>Καταναλωτές</a:t>
              </a:r>
            </a:p>
          </p:txBody>
        </p:sp>
        <p:sp>
          <p:nvSpPr>
            <p:cNvPr id="77" name="Textfeld 90">
              <a:extLst>
                <a:ext uri="{FF2B5EF4-FFF2-40B4-BE49-F238E27FC236}">
                  <a16:creationId xmlns:a16="http://schemas.microsoft.com/office/drawing/2014/main" id="{013532D8-D65B-0507-BF9C-109CC30CFC5A}"/>
                </a:ext>
              </a:extLst>
            </p:cNvPr>
            <p:cNvSpPr txBox="1"/>
            <p:nvPr/>
          </p:nvSpPr>
          <p:spPr>
            <a:xfrm>
              <a:off x="7730720" y="527426"/>
              <a:ext cx="1179362" cy="534762"/>
            </a:xfrm>
            <a:prstGeom prst="rect">
              <a:avLst/>
            </a:prstGeom>
            <a:noFill/>
          </p:spPr>
          <p:txBody>
            <a:bodyPr wrap="none" rtlCol="0">
              <a:spAutoFit/>
            </a:bodyPr>
            <a:lstStyle/>
            <a:p>
              <a:pPr algn="ctr">
                <a:lnSpc>
                  <a:spcPts val="1720"/>
                </a:lnSpc>
              </a:pPr>
              <a:r>
                <a:rPr lang="en-GB" dirty="0">
                  <a:solidFill>
                    <a:srgbClr val="7F1C58"/>
                  </a:solidFill>
                  <a:latin typeface="Calibri" panose="020F0502020204030204" pitchFamily="34" charset="0"/>
                  <a:cs typeface="Calibri" panose="020F0502020204030204" pitchFamily="34" charset="0"/>
                </a:rPr>
                <a:t>Επιχείρηση </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Πελάτες</a:t>
              </a:r>
            </a:p>
          </p:txBody>
        </p:sp>
        <p:sp>
          <p:nvSpPr>
            <p:cNvPr id="78" name="Textfeld 91">
              <a:extLst>
                <a:ext uri="{FF2B5EF4-FFF2-40B4-BE49-F238E27FC236}">
                  <a16:creationId xmlns:a16="http://schemas.microsoft.com/office/drawing/2014/main" id="{2EC485A6-A04F-4036-4A29-7E65C3DBD361}"/>
                </a:ext>
              </a:extLst>
            </p:cNvPr>
            <p:cNvSpPr txBox="1"/>
            <p:nvPr/>
          </p:nvSpPr>
          <p:spPr>
            <a:xfrm>
              <a:off x="9100037" y="1446220"/>
              <a:ext cx="1519163" cy="752770"/>
            </a:xfrm>
            <a:prstGeom prst="rect">
              <a:avLst/>
            </a:prstGeom>
            <a:noFill/>
          </p:spPr>
          <p:txBody>
            <a:bodyPr wrap="square" rtlCol="0">
              <a:spAutoFit/>
            </a:bodyPr>
            <a:lstStyle/>
            <a:p>
              <a:pPr algn="ctr">
                <a:lnSpc>
                  <a:spcPts val="1720"/>
                </a:lnSpc>
              </a:pPr>
              <a:r>
                <a:rPr lang="en-GB" dirty="0">
                  <a:solidFill>
                    <a:srgbClr val="F16924"/>
                  </a:solidFill>
                  <a:latin typeface="Calibri" panose="020F0502020204030204" pitchFamily="34" charset="0"/>
                  <a:cs typeface="Calibri" panose="020F0502020204030204" pitchFamily="34" charset="0"/>
                </a:rPr>
                <a:t>Επιχειρηματικός εταίρος &amp; προμηθευτές</a:t>
              </a:r>
            </a:p>
          </p:txBody>
        </p:sp>
        <p:sp>
          <p:nvSpPr>
            <p:cNvPr id="80" name="Textfeld 93">
              <a:extLst>
                <a:ext uri="{FF2B5EF4-FFF2-40B4-BE49-F238E27FC236}">
                  <a16:creationId xmlns:a16="http://schemas.microsoft.com/office/drawing/2014/main" id="{705A798C-9BC7-1226-3DF7-52A952A563FA}"/>
                </a:ext>
              </a:extLst>
            </p:cNvPr>
            <p:cNvSpPr txBox="1"/>
            <p:nvPr/>
          </p:nvSpPr>
          <p:spPr>
            <a:xfrm>
              <a:off x="9677964" y="3560417"/>
              <a:ext cx="1111949" cy="534762"/>
            </a:xfrm>
            <a:prstGeom prst="rect">
              <a:avLst/>
            </a:prstGeom>
            <a:noFill/>
          </p:spPr>
          <p:txBody>
            <a:bodyPr wrap="square" rtlCol="0">
              <a:spAutoFit/>
            </a:bodyPr>
            <a:lstStyle/>
            <a:p>
              <a:pPr algn="ctr">
                <a:lnSpc>
                  <a:spcPts val="1720"/>
                </a:lnSpc>
              </a:pPr>
              <a:r>
                <a:rPr lang="en-GB" dirty="0">
                  <a:solidFill>
                    <a:srgbClr val="B41F7A"/>
                  </a:solidFill>
                  <a:latin typeface="Calibri" panose="020F0502020204030204" pitchFamily="34" charset="0"/>
                  <a:cs typeface="Calibri" panose="020F0502020204030204" pitchFamily="34" charset="0"/>
                </a:rPr>
                <a:t>Επενδυτές &amp; Τράπεζες</a:t>
              </a:r>
            </a:p>
          </p:txBody>
        </p:sp>
        <p:sp>
          <p:nvSpPr>
            <p:cNvPr id="82" name="Textfeld 95">
              <a:extLst>
                <a:ext uri="{FF2B5EF4-FFF2-40B4-BE49-F238E27FC236}">
                  <a16:creationId xmlns:a16="http://schemas.microsoft.com/office/drawing/2014/main" id="{7254B743-8A66-8905-BBE9-EA8903C45245}"/>
                </a:ext>
              </a:extLst>
            </p:cNvPr>
            <p:cNvSpPr txBox="1"/>
            <p:nvPr/>
          </p:nvSpPr>
          <p:spPr>
            <a:xfrm>
              <a:off x="8648545" y="5276127"/>
              <a:ext cx="1401782" cy="534762"/>
            </a:xfrm>
            <a:prstGeom prst="rect">
              <a:avLst/>
            </a:prstGeom>
            <a:noFill/>
          </p:spPr>
          <p:txBody>
            <a:bodyPr wrap="square" rtlCol="0">
              <a:spAutoFit/>
            </a:bodyPr>
            <a:lstStyle/>
            <a:p>
              <a:pPr algn="ctr">
                <a:lnSpc>
                  <a:spcPts val="1720"/>
                </a:lnSpc>
              </a:pPr>
              <a:r>
                <a:rPr lang="en-GB" dirty="0">
                  <a:solidFill>
                    <a:srgbClr val="EDA13E"/>
                  </a:solidFill>
                  <a:latin typeface="Calibri" panose="020F0502020204030204" pitchFamily="34" charset="0"/>
                  <a:cs typeface="Calibri" panose="020F0502020204030204" pitchFamily="34" charset="0"/>
                </a:rPr>
                <a:t>Επιστήμη &amp; έρευνα</a:t>
              </a:r>
            </a:p>
          </p:txBody>
        </p:sp>
        <p:sp>
          <p:nvSpPr>
            <p:cNvPr id="83" name="Textfeld 96">
              <a:extLst>
                <a:ext uri="{FF2B5EF4-FFF2-40B4-BE49-F238E27FC236}">
                  <a16:creationId xmlns:a16="http://schemas.microsoft.com/office/drawing/2014/main" id="{1E9CD50A-BAE0-D36D-36B3-3AB6E42B5D1B}"/>
                </a:ext>
              </a:extLst>
            </p:cNvPr>
            <p:cNvSpPr txBox="1"/>
            <p:nvPr/>
          </p:nvSpPr>
          <p:spPr>
            <a:xfrm>
              <a:off x="6310649" y="6148918"/>
              <a:ext cx="2036648" cy="534762"/>
            </a:xfrm>
            <a:prstGeom prst="rect">
              <a:avLst/>
            </a:prstGeom>
            <a:noFill/>
          </p:spPr>
          <p:txBody>
            <a:bodyPr wrap="none" rtlCol="0">
              <a:spAutoFit/>
            </a:bodyPr>
            <a:lstStyle/>
            <a:p>
              <a:pPr algn="ctr">
                <a:lnSpc>
                  <a:spcPts val="1720"/>
                </a:lnSpc>
              </a:pPr>
              <a:r>
                <a:rPr lang="en-GB" dirty="0">
                  <a:solidFill>
                    <a:srgbClr val="7F1C58"/>
                  </a:solidFill>
                  <a:latin typeface="Calibri" panose="020F0502020204030204" pitchFamily="34" charset="0"/>
                  <a:cs typeface="Calibri" panose="020F0502020204030204" pitchFamily="34" charset="0"/>
                </a:rPr>
                <a:t>Νέοι επαγγελματίες</a:t>
              </a:r>
              <a:br>
                <a:rPr lang="en-GB" dirty="0">
                  <a:solidFill>
                    <a:srgbClr val="7F1C58"/>
                  </a:solidFill>
                  <a:latin typeface="Calibri" panose="020F0502020204030204" pitchFamily="34" charset="0"/>
                  <a:cs typeface="Calibri" panose="020F0502020204030204" pitchFamily="34" charset="0"/>
                </a:rPr>
              </a:br>
              <a:r>
                <a:rPr lang="en-GB" dirty="0">
                  <a:solidFill>
                    <a:srgbClr val="7F1C58"/>
                  </a:solidFill>
                  <a:latin typeface="Calibri" panose="020F0502020204030204" pitchFamily="34" charset="0"/>
                  <a:cs typeface="Calibri" panose="020F0502020204030204" pitchFamily="34" charset="0"/>
                </a:rPr>
                <a:t>&amp; top performers</a:t>
              </a:r>
            </a:p>
          </p:txBody>
        </p:sp>
        <p:sp>
          <p:nvSpPr>
            <p:cNvPr id="84" name="Textfeld 97">
              <a:extLst>
                <a:ext uri="{FF2B5EF4-FFF2-40B4-BE49-F238E27FC236}">
                  <a16:creationId xmlns:a16="http://schemas.microsoft.com/office/drawing/2014/main" id="{25512AD8-C3BD-281B-8DEE-6E2D9DFEBDA0}"/>
                </a:ext>
              </a:extLst>
            </p:cNvPr>
            <p:cNvSpPr txBox="1"/>
            <p:nvPr/>
          </p:nvSpPr>
          <p:spPr>
            <a:xfrm>
              <a:off x="4756940" y="5248005"/>
              <a:ext cx="1293177" cy="534762"/>
            </a:xfrm>
            <a:prstGeom prst="rect">
              <a:avLst/>
            </a:prstGeom>
            <a:noFill/>
          </p:spPr>
          <p:txBody>
            <a:bodyPr wrap="square" rtlCol="0">
              <a:spAutoFit/>
            </a:bodyPr>
            <a:lstStyle/>
            <a:p>
              <a:pPr algn="ctr">
                <a:lnSpc>
                  <a:spcPts val="1720"/>
                </a:lnSpc>
              </a:pPr>
              <a:r>
                <a:rPr lang="en-GB" dirty="0">
                  <a:solidFill>
                    <a:srgbClr val="F16924"/>
                  </a:solidFill>
                  <a:latin typeface="Calibri" panose="020F0502020204030204" pitchFamily="34" charset="0"/>
                  <a:cs typeface="Calibri" panose="020F0502020204030204" pitchFamily="34" charset="0"/>
                </a:rPr>
                <a:t>Πολιτικοί ηθοποιοί</a:t>
              </a:r>
            </a:p>
          </p:txBody>
        </p:sp>
        <p:sp>
          <p:nvSpPr>
            <p:cNvPr id="88" name="TextBox 87">
              <a:extLst>
                <a:ext uri="{FF2B5EF4-FFF2-40B4-BE49-F238E27FC236}">
                  <a16:creationId xmlns:a16="http://schemas.microsoft.com/office/drawing/2014/main" id="{28C2165F-2493-236A-8DBE-E58BE8D015A4}"/>
                </a:ext>
              </a:extLst>
            </p:cNvPr>
            <p:cNvSpPr txBox="1"/>
            <p:nvPr/>
          </p:nvSpPr>
          <p:spPr>
            <a:xfrm>
              <a:off x="6527382" y="3244334"/>
              <a:ext cx="1612553" cy="369332"/>
            </a:xfrm>
            <a:prstGeom prst="rect">
              <a:avLst/>
            </a:prstGeom>
            <a:noFill/>
          </p:spPr>
          <p:txBody>
            <a:bodyPr wrap="square">
              <a:spAutoFit/>
            </a:bodyPr>
            <a:lstStyle/>
            <a:p>
              <a:pPr algn="ctr"/>
              <a:r>
                <a:rPr lang="en-GB" sz="1800" dirty="0">
                  <a:solidFill>
                    <a:srgbClr val="595959"/>
                  </a:solidFill>
                  <a:latin typeface="Calibri" panose="020F0502020204030204" pitchFamily="34" charset="0"/>
                  <a:cs typeface="Calibri" panose="020F0502020204030204" pitchFamily="34" charset="0"/>
                </a:rPr>
                <a:t>Διαχείριση</a:t>
              </a:r>
              <a:endParaRPr lang="en-US" dirty="0"/>
            </a:p>
          </p:txBody>
        </p:sp>
      </p:grpSp>
    </p:spTree>
    <p:extLst>
      <p:ext uri="{BB962C8B-B14F-4D97-AF65-F5344CB8AC3E}">
        <p14:creationId xmlns:p14="http://schemas.microsoft.com/office/powerpoint/2010/main" val="18533173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70" y="2692399"/>
            <a:ext cx="3249234" cy="3846621"/>
          </a:xfrm>
        </p:spPr>
        <p:txBody>
          <a:bodyPr>
            <a:normAutofit/>
          </a:bodyPr>
          <a:lstStyle/>
          <a:p>
            <a:pPr marL="15875" indent="-15875">
              <a:lnSpc>
                <a:spcPts val="2280"/>
              </a:lnSpc>
              <a:spcBef>
                <a:spcPts val="0"/>
              </a:spcBef>
            </a:pPr>
            <a:r>
              <a:rPr lang="en-US" sz="2200" dirty="0">
                <a:solidFill>
                  <a:schemeClr val="bg1"/>
                </a:solidFill>
              </a:rPr>
              <a:t>Οι εταιρείες συνεργάζονται με ένα ευρύ φάσμα ανθρώπων και άλλων επιχειρήσεων, γεγονός που τις ωθεί να επικοινωνούν με ποικίλα μέσα. Για να είναι αποτελεσματική, δίνεται προσοχή στον τόνο και τη σαφήνεια του μηνύματος, ανεξάρτητα από τη μέθοδο επικοινωνίας.</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a:bodyPr>
          <a:lstStyle/>
          <a:p>
            <a:r>
              <a:rPr lang="en-GB" dirty="0">
                <a:solidFill>
                  <a:schemeClr val="bg1"/>
                </a:solidFill>
              </a:rPr>
              <a:t>Αποτελεσματική επικοινωνία</a:t>
            </a:r>
          </a:p>
        </p:txBody>
      </p:sp>
      <p:sp>
        <p:nvSpPr>
          <p:cNvPr id="8" name="Rectangle 7">
            <a:extLst>
              <a:ext uri="{FF2B5EF4-FFF2-40B4-BE49-F238E27FC236}">
                <a16:creationId xmlns:a16="http://schemas.microsoft.com/office/drawing/2014/main" id="{14F9744D-3107-97CB-5B61-61E5B24B2E44}"/>
              </a:ext>
            </a:extLst>
          </p:cNvPr>
          <p:cNvSpPr/>
          <p:nvPr/>
        </p:nvSpPr>
        <p:spPr>
          <a:xfrm>
            <a:off x="526269" y="1749044"/>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4" name="Group 3">
            <a:extLst>
              <a:ext uri="{FF2B5EF4-FFF2-40B4-BE49-F238E27FC236}">
                <a16:creationId xmlns:a16="http://schemas.microsoft.com/office/drawing/2014/main" id="{1AE79446-8151-C20F-BD53-127B86EAC5BC}"/>
              </a:ext>
            </a:extLst>
          </p:cNvPr>
          <p:cNvGrpSpPr/>
          <p:nvPr/>
        </p:nvGrpSpPr>
        <p:grpSpPr>
          <a:xfrm>
            <a:off x="4660364" y="1515607"/>
            <a:ext cx="6336821" cy="4076754"/>
            <a:chOff x="4884758" y="1132611"/>
            <a:chExt cx="5518707" cy="3550425"/>
          </a:xfrm>
        </p:grpSpPr>
        <p:sp>
          <p:nvSpPr>
            <p:cNvPr id="9" name="Freeform 5">
              <a:extLst>
                <a:ext uri="{FF2B5EF4-FFF2-40B4-BE49-F238E27FC236}">
                  <a16:creationId xmlns:a16="http://schemas.microsoft.com/office/drawing/2014/main" id="{BED09C8A-9EE1-9928-DC36-E963B59303FB}"/>
                </a:ext>
              </a:extLst>
            </p:cNvPr>
            <p:cNvSpPr>
              <a:spLocks/>
            </p:cNvSpPr>
            <p:nvPr/>
          </p:nvSpPr>
          <p:spPr bwMode="auto">
            <a:xfrm>
              <a:off x="6558115" y="2397916"/>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0" name="Freeform 6">
              <a:extLst>
                <a:ext uri="{FF2B5EF4-FFF2-40B4-BE49-F238E27FC236}">
                  <a16:creationId xmlns:a16="http://schemas.microsoft.com/office/drawing/2014/main" id="{3F4A83B7-E3F8-94F8-2530-99046C78A6C1}"/>
                </a:ext>
              </a:extLst>
            </p:cNvPr>
            <p:cNvSpPr>
              <a:spLocks/>
            </p:cNvSpPr>
            <p:nvPr/>
          </p:nvSpPr>
          <p:spPr bwMode="auto">
            <a:xfrm>
              <a:off x="8218131" y="3299830"/>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1" name="Freeform 7">
              <a:extLst>
                <a:ext uri="{FF2B5EF4-FFF2-40B4-BE49-F238E27FC236}">
                  <a16:creationId xmlns:a16="http://schemas.microsoft.com/office/drawing/2014/main" id="{68A75D00-0708-B4C5-BE82-D8BD0D2523DA}"/>
                </a:ext>
              </a:extLst>
            </p:cNvPr>
            <p:cNvSpPr>
              <a:spLocks/>
            </p:cNvSpPr>
            <p:nvPr/>
          </p:nvSpPr>
          <p:spPr bwMode="auto">
            <a:xfrm>
              <a:off x="6558114" y="3299830"/>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2" name="Freeform 5">
              <a:extLst>
                <a:ext uri="{FF2B5EF4-FFF2-40B4-BE49-F238E27FC236}">
                  <a16:creationId xmlns:a16="http://schemas.microsoft.com/office/drawing/2014/main" id="{7CCB9774-7386-6999-24E8-C9908A0334D2}"/>
                </a:ext>
              </a:extLst>
            </p:cNvPr>
            <p:cNvSpPr>
              <a:spLocks/>
            </p:cNvSpPr>
            <p:nvPr/>
          </p:nvSpPr>
          <p:spPr bwMode="auto">
            <a:xfrm>
              <a:off x="6838425" y="2144565"/>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3" name="Freeform 6">
              <a:extLst>
                <a:ext uri="{FF2B5EF4-FFF2-40B4-BE49-F238E27FC236}">
                  <a16:creationId xmlns:a16="http://schemas.microsoft.com/office/drawing/2014/main" id="{9A556777-3C40-0847-7276-470BAA5FAB20}"/>
                </a:ext>
              </a:extLst>
            </p:cNvPr>
            <p:cNvSpPr>
              <a:spLocks/>
            </p:cNvSpPr>
            <p:nvPr/>
          </p:nvSpPr>
          <p:spPr bwMode="auto">
            <a:xfrm>
              <a:off x="8218132" y="2894183"/>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4" name="Freeform 7">
              <a:extLst>
                <a:ext uri="{FF2B5EF4-FFF2-40B4-BE49-F238E27FC236}">
                  <a16:creationId xmlns:a16="http://schemas.microsoft.com/office/drawing/2014/main" id="{F929CD0C-BF18-0BEB-AFEF-DD67A08E1A03}"/>
                </a:ext>
              </a:extLst>
            </p:cNvPr>
            <p:cNvSpPr>
              <a:spLocks/>
            </p:cNvSpPr>
            <p:nvPr/>
          </p:nvSpPr>
          <p:spPr bwMode="auto">
            <a:xfrm>
              <a:off x="6838425" y="2894183"/>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5" name="Freeform 19">
              <a:extLst>
                <a:ext uri="{FF2B5EF4-FFF2-40B4-BE49-F238E27FC236}">
                  <a16:creationId xmlns:a16="http://schemas.microsoft.com/office/drawing/2014/main" id="{930D777A-B340-1A8D-7C89-671C8FD0F052}"/>
                </a:ext>
              </a:extLst>
            </p:cNvPr>
            <p:cNvSpPr>
              <a:spLocks/>
            </p:cNvSpPr>
            <p:nvPr/>
          </p:nvSpPr>
          <p:spPr bwMode="auto">
            <a:xfrm>
              <a:off x="7103830" y="1928309"/>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6" name="Freeform 20">
              <a:extLst>
                <a:ext uri="{FF2B5EF4-FFF2-40B4-BE49-F238E27FC236}">
                  <a16:creationId xmlns:a16="http://schemas.microsoft.com/office/drawing/2014/main" id="{13BEE89F-0DBE-7CE3-01ED-445DEB8DAA2A}"/>
                </a:ext>
              </a:extLst>
            </p:cNvPr>
            <p:cNvSpPr>
              <a:spLocks/>
            </p:cNvSpPr>
            <p:nvPr/>
          </p:nvSpPr>
          <p:spPr bwMode="auto">
            <a:xfrm>
              <a:off x="8216655" y="2533381"/>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7" name="Freeform 21">
              <a:extLst>
                <a:ext uri="{FF2B5EF4-FFF2-40B4-BE49-F238E27FC236}">
                  <a16:creationId xmlns:a16="http://schemas.microsoft.com/office/drawing/2014/main" id="{6EFAE75E-B025-B8D7-2584-217DA048B5E3}"/>
                </a:ext>
              </a:extLst>
            </p:cNvPr>
            <p:cNvSpPr>
              <a:spLocks/>
            </p:cNvSpPr>
            <p:nvPr/>
          </p:nvSpPr>
          <p:spPr bwMode="auto">
            <a:xfrm>
              <a:off x="7103830" y="2533381"/>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8" name="Freeform 11">
              <a:extLst>
                <a:ext uri="{FF2B5EF4-FFF2-40B4-BE49-F238E27FC236}">
                  <a16:creationId xmlns:a16="http://schemas.microsoft.com/office/drawing/2014/main" id="{65B367D7-63F0-D2EE-CBE7-3E5B61DD5320}"/>
                </a:ext>
              </a:extLst>
            </p:cNvPr>
            <p:cNvSpPr>
              <a:spLocks/>
            </p:cNvSpPr>
            <p:nvPr/>
          </p:nvSpPr>
          <p:spPr bwMode="auto">
            <a:xfrm>
              <a:off x="7430290" y="1833065"/>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19" name="Freeform 12">
              <a:extLst>
                <a:ext uri="{FF2B5EF4-FFF2-40B4-BE49-F238E27FC236}">
                  <a16:creationId xmlns:a16="http://schemas.microsoft.com/office/drawing/2014/main" id="{D948E1AB-1C0A-F5CC-B51F-86431C2FA42C}"/>
                </a:ext>
              </a:extLst>
            </p:cNvPr>
            <p:cNvSpPr>
              <a:spLocks/>
            </p:cNvSpPr>
            <p:nvPr/>
          </p:nvSpPr>
          <p:spPr bwMode="auto">
            <a:xfrm>
              <a:off x="8217147" y="2261098"/>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0" name="Freeform 13">
              <a:extLst>
                <a:ext uri="{FF2B5EF4-FFF2-40B4-BE49-F238E27FC236}">
                  <a16:creationId xmlns:a16="http://schemas.microsoft.com/office/drawing/2014/main" id="{EFB72ED1-12DA-07DB-7716-F6B6E3ECD864}"/>
                </a:ext>
              </a:extLst>
            </p:cNvPr>
            <p:cNvSpPr>
              <a:spLocks/>
            </p:cNvSpPr>
            <p:nvPr/>
          </p:nvSpPr>
          <p:spPr bwMode="auto">
            <a:xfrm>
              <a:off x="7430291" y="2261098"/>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1" name="Freeform 14">
              <a:extLst>
                <a:ext uri="{FF2B5EF4-FFF2-40B4-BE49-F238E27FC236}">
                  <a16:creationId xmlns:a16="http://schemas.microsoft.com/office/drawing/2014/main" id="{E9486804-32AE-0D46-E47C-9911D7C5DAE8}"/>
                </a:ext>
              </a:extLst>
            </p:cNvPr>
            <p:cNvSpPr>
              <a:spLocks/>
            </p:cNvSpPr>
            <p:nvPr/>
          </p:nvSpPr>
          <p:spPr bwMode="auto">
            <a:xfrm>
              <a:off x="7661719" y="1635856"/>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2" name="Freeform 15">
              <a:extLst>
                <a:ext uri="{FF2B5EF4-FFF2-40B4-BE49-F238E27FC236}">
                  <a16:creationId xmlns:a16="http://schemas.microsoft.com/office/drawing/2014/main" id="{115742C0-42FF-D770-0766-E6F677F03C97}"/>
                </a:ext>
              </a:extLst>
            </p:cNvPr>
            <p:cNvSpPr>
              <a:spLocks/>
            </p:cNvSpPr>
            <p:nvPr/>
          </p:nvSpPr>
          <p:spPr bwMode="auto">
            <a:xfrm>
              <a:off x="8218133" y="1939513"/>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3" name="Freeform 16">
              <a:extLst>
                <a:ext uri="{FF2B5EF4-FFF2-40B4-BE49-F238E27FC236}">
                  <a16:creationId xmlns:a16="http://schemas.microsoft.com/office/drawing/2014/main" id="{B738299C-E8F7-09C9-3F38-9EE5F168C7DD}"/>
                </a:ext>
              </a:extLst>
            </p:cNvPr>
            <p:cNvSpPr>
              <a:spLocks/>
            </p:cNvSpPr>
            <p:nvPr/>
          </p:nvSpPr>
          <p:spPr bwMode="auto">
            <a:xfrm>
              <a:off x="7661719" y="1939513"/>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4" name="Freeform 17">
              <a:extLst>
                <a:ext uri="{FF2B5EF4-FFF2-40B4-BE49-F238E27FC236}">
                  <a16:creationId xmlns:a16="http://schemas.microsoft.com/office/drawing/2014/main" id="{2648C2D7-1B5D-3DDE-906B-D2391E285E11}"/>
                </a:ext>
              </a:extLst>
            </p:cNvPr>
            <p:cNvSpPr>
              <a:spLocks/>
            </p:cNvSpPr>
            <p:nvPr/>
          </p:nvSpPr>
          <p:spPr bwMode="auto">
            <a:xfrm>
              <a:off x="7770047" y="1445371"/>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sp>
          <p:nvSpPr>
            <p:cNvPr id="25" name="Freeform 18">
              <a:extLst>
                <a:ext uri="{FF2B5EF4-FFF2-40B4-BE49-F238E27FC236}">
                  <a16:creationId xmlns:a16="http://schemas.microsoft.com/office/drawing/2014/main" id="{40FA98B8-FF28-C148-06FF-380D9EBD464D}"/>
                </a:ext>
              </a:extLst>
            </p:cNvPr>
            <p:cNvSpPr>
              <a:spLocks/>
            </p:cNvSpPr>
            <p:nvPr/>
          </p:nvSpPr>
          <p:spPr bwMode="auto">
            <a:xfrm>
              <a:off x="7770047" y="1445371"/>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2700" dirty="0">
                <a:solidFill>
                  <a:srgbClr val="595959"/>
                </a:solidFill>
              </a:endParaRPr>
            </a:p>
          </p:txBody>
        </p:sp>
        <p:cxnSp>
          <p:nvCxnSpPr>
            <p:cNvPr id="26" name="Straight Arrow Connector 28">
              <a:extLst>
                <a:ext uri="{FF2B5EF4-FFF2-40B4-BE49-F238E27FC236}">
                  <a16:creationId xmlns:a16="http://schemas.microsoft.com/office/drawing/2014/main" id="{1BC39691-F58D-6CD2-89C9-2C16A6CFED01}"/>
                </a:ext>
              </a:extLst>
            </p:cNvPr>
            <p:cNvCxnSpPr>
              <a:cxnSpLocks/>
            </p:cNvCxnSpPr>
            <p:nvPr/>
          </p:nvCxnSpPr>
          <p:spPr>
            <a:xfrm>
              <a:off x="8219101" y="1446205"/>
              <a:ext cx="857473" cy="0"/>
            </a:xfrm>
            <a:prstGeom prst="straightConnector1">
              <a:avLst/>
            </a:prstGeom>
            <a:ln w="38100">
              <a:solidFill>
                <a:srgbClr val="F16924"/>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32">
              <a:extLst>
                <a:ext uri="{FF2B5EF4-FFF2-40B4-BE49-F238E27FC236}">
                  <a16:creationId xmlns:a16="http://schemas.microsoft.com/office/drawing/2014/main" id="{565B21F9-977B-697B-FB93-FE34DBB2FB4F}"/>
                </a:ext>
              </a:extLst>
            </p:cNvPr>
            <p:cNvCxnSpPr>
              <a:cxnSpLocks/>
            </p:cNvCxnSpPr>
            <p:nvPr/>
          </p:nvCxnSpPr>
          <p:spPr>
            <a:xfrm rot="10800000">
              <a:off x="6253993" y="2537476"/>
              <a:ext cx="857473" cy="0"/>
            </a:xfrm>
            <a:prstGeom prst="straightConnector1">
              <a:avLst/>
            </a:prstGeom>
            <a:ln w="38100">
              <a:solidFill>
                <a:srgbClr val="B41F7A"/>
              </a:solidFill>
              <a:tailEnd type="oval"/>
            </a:ln>
          </p:spPr>
          <p:style>
            <a:lnRef idx="1">
              <a:schemeClr val="accent1"/>
            </a:lnRef>
            <a:fillRef idx="0">
              <a:schemeClr val="accent1"/>
            </a:fillRef>
            <a:effectRef idx="0">
              <a:schemeClr val="accent1"/>
            </a:effectRef>
            <a:fontRef idx="minor">
              <a:schemeClr val="tx1"/>
            </a:fontRef>
          </p:style>
        </p:cxnSp>
        <p:sp>
          <p:nvSpPr>
            <p:cNvPr id="28" name="TextBox 47">
              <a:extLst>
                <a:ext uri="{FF2B5EF4-FFF2-40B4-BE49-F238E27FC236}">
                  <a16:creationId xmlns:a16="http://schemas.microsoft.com/office/drawing/2014/main" id="{730F841E-FCE6-78E6-F49D-B3D704355771}"/>
                </a:ext>
              </a:extLst>
            </p:cNvPr>
            <p:cNvSpPr txBox="1"/>
            <p:nvPr/>
          </p:nvSpPr>
          <p:spPr>
            <a:xfrm>
              <a:off x="9170643" y="1132611"/>
              <a:ext cx="1232822" cy="455670"/>
            </a:xfrm>
            <a:prstGeom prst="rect">
              <a:avLst/>
            </a:prstGeom>
            <a:noFill/>
          </p:spPr>
          <p:txBody>
            <a:bodyPr wrap="none" rtlCol="0" anchor="ctr" anchorCtr="0">
              <a:spAutoFit/>
            </a:bodyPr>
            <a:lstStyle/>
            <a:p>
              <a:r>
                <a:rPr lang="en-GB" sz="2800" dirty="0" err="1">
                  <a:solidFill>
                    <a:srgbClr val="F16924"/>
                  </a:solidFill>
                  <a:ea typeface="League Spartan" charset="0"/>
                  <a:cs typeface="Poppins" pitchFamily="2" charset="77"/>
                </a:rPr>
                <a:t>Ό,τι</a:t>
              </a:r>
              <a:r>
                <a:rPr lang="en-GB" sz="2800" dirty="0">
                  <a:solidFill>
                    <a:srgbClr val="F16924"/>
                  </a:solidFill>
                  <a:ea typeface="League Spartan" charset="0"/>
                  <a:cs typeface="Poppins" pitchFamily="2" charset="77"/>
                </a:rPr>
                <a:t> </a:t>
              </a:r>
              <a:r>
                <a:rPr lang="el-GR" sz="2800" dirty="0">
                  <a:solidFill>
                    <a:srgbClr val="F16924"/>
                  </a:solidFill>
                  <a:ea typeface="League Spartan" charset="0"/>
                  <a:cs typeface="Poppins" pitchFamily="2" charset="77"/>
                </a:rPr>
                <a:t>λες</a:t>
              </a:r>
              <a:r>
                <a:rPr lang="en-GB" sz="2800" dirty="0">
                  <a:solidFill>
                    <a:srgbClr val="F16924"/>
                  </a:solidFill>
                  <a:ea typeface="League Spartan" charset="0"/>
                  <a:cs typeface="Poppins" pitchFamily="2" charset="77"/>
                </a:rPr>
                <a:t>!</a:t>
              </a:r>
            </a:p>
          </p:txBody>
        </p:sp>
        <p:sp>
          <p:nvSpPr>
            <p:cNvPr id="29" name="Subtitle 2">
              <a:extLst>
                <a:ext uri="{FF2B5EF4-FFF2-40B4-BE49-F238E27FC236}">
                  <a16:creationId xmlns:a16="http://schemas.microsoft.com/office/drawing/2014/main" id="{4B90D1A1-14E0-C37F-F21A-35BC010CA02C}"/>
                </a:ext>
              </a:extLst>
            </p:cNvPr>
            <p:cNvSpPr txBox="1">
              <a:spLocks/>
            </p:cNvSpPr>
            <p:nvPr/>
          </p:nvSpPr>
          <p:spPr>
            <a:xfrm>
              <a:off x="4884758" y="1778161"/>
              <a:ext cx="1833109" cy="34283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4000" b="1" dirty="0">
                  <a:solidFill>
                    <a:srgbClr val="B41F7A"/>
                  </a:solidFill>
                  <a:latin typeface="+mn-lt"/>
                  <a:ea typeface="Open Sans Light" panose="020B0306030504020204" pitchFamily="34" charset="0"/>
                  <a:cs typeface="Open Sans Light" panose="020B0306030504020204" pitchFamily="34" charset="0"/>
                </a:rPr>
                <a:t>93%</a:t>
              </a:r>
            </a:p>
          </p:txBody>
        </p:sp>
        <p:sp>
          <p:nvSpPr>
            <p:cNvPr id="30" name="TextBox 55">
              <a:extLst>
                <a:ext uri="{FF2B5EF4-FFF2-40B4-BE49-F238E27FC236}">
                  <a16:creationId xmlns:a16="http://schemas.microsoft.com/office/drawing/2014/main" id="{53BF4FA9-FD72-B5C9-F1C5-0B5822EB6D61}"/>
                </a:ext>
              </a:extLst>
            </p:cNvPr>
            <p:cNvSpPr txBox="1"/>
            <p:nvPr/>
          </p:nvSpPr>
          <p:spPr>
            <a:xfrm>
              <a:off x="5230602" y="2033263"/>
              <a:ext cx="1646555" cy="455670"/>
            </a:xfrm>
            <a:prstGeom prst="rect">
              <a:avLst/>
            </a:prstGeom>
            <a:noFill/>
          </p:spPr>
          <p:txBody>
            <a:bodyPr wrap="none" rtlCol="0" anchor="ctr" anchorCtr="0">
              <a:spAutoFit/>
            </a:bodyPr>
            <a:lstStyle/>
            <a:p>
              <a:pPr algn="r"/>
              <a:r>
                <a:rPr lang="en-GB" sz="2800" dirty="0" err="1">
                  <a:solidFill>
                    <a:srgbClr val="B41F7A"/>
                  </a:solidFill>
                  <a:ea typeface="League Spartan" charset="0"/>
                  <a:cs typeface="Poppins" pitchFamily="2" charset="77"/>
                </a:rPr>
                <a:t>Πώς</a:t>
              </a:r>
              <a:r>
                <a:rPr lang="en-GB" sz="2800" dirty="0">
                  <a:solidFill>
                    <a:srgbClr val="B41F7A"/>
                  </a:solidFill>
                  <a:ea typeface="League Spartan" charset="0"/>
                  <a:cs typeface="Poppins" pitchFamily="2" charset="77"/>
                </a:rPr>
                <a:t> </a:t>
              </a:r>
              <a:r>
                <a:rPr lang="en-GB" sz="2800" dirty="0" err="1">
                  <a:solidFill>
                    <a:srgbClr val="B41F7A"/>
                  </a:solidFill>
                  <a:ea typeface="League Spartan" charset="0"/>
                  <a:cs typeface="Poppins" pitchFamily="2" charset="77"/>
                </a:rPr>
                <a:t>το</a:t>
              </a:r>
              <a:r>
                <a:rPr lang="el-GR" sz="2800" dirty="0">
                  <a:solidFill>
                    <a:srgbClr val="B41F7A"/>
                  </a:solidFill>
                  <a:ea typeface="League Spartan" charset="0"/>
                  <a:cs typeface="Poppins" pitchFamily="2" charset="77"/>
                </a:rPr>
                <a:t> λες</a:t>
              </a:r>
              <a:r>
                <a:rPr lang="en-GB" sz="2800" dirty="0">
                  <a:solidFill>
                    <a:srgbClr val="B41F7A"/>
                  </a:solidFill>
                  <a:ea typeface="League Spartan" charset="0"/>
                  <a:cs typeface="Poppins" pitchFamily="2" charset="77"/>
                </a:rPr>
                <a:t>!</a:t>
              </a:r>
            </a:p>
          </p:txBody>
        </p:sp>
      </p:grpSp>
      <p:sp>
        <p:nvSpPr>
          <p:cNvPr id="31" name="TextBox 30">
            <a:extLst>
              <a:ext uri="{FF2B5EF4-FFF2-40B4-BE49-F238E27FC236}">
                <a16:creationId xmlns:a16="http://schemas.microsoft.com/office/drawing/2014/main" id="{66BA4FDF-94A6-5639-F2E9-B3BB8C0E4F42}"/>
              </a:ext>
            </a:extLst>
          </p:cNvPr>
          <p:cNvSpPr txBox="1"/>
          <p:nvPr/>
        </p:nvSpPr>
        <p:spPr>
          <a:xfrm>
            <a:off x="4381821" y="5599824"/>
            <a:ext cx="7606979" cy="523220"/>
          </a:xfrm>
          <a:prstGeom prst="rect">
            <a:avLst/>
          </a:prstGeom>
          <a:noFill/>
        </p:spPr>
        <p:txBody>
          <a:bodyPr wrap="square" rtlCol="0">
            <a:spAutoFit/>
          </a:bodyPr>
          <a:lstStyle/>
          <a:p>
            <a:r>
              <a:rPr lang="en-US" sz="1400" b="1" dirty="0">
                <a:solidFill>
                  <a:srgbClr val="B41F7A"/>
                </a:solidFill>
              </a:rPr>
              <a:t>Πηγή: 2022:</a:t>
            </a:r>
          </a:p>
          <a:p>
            <a:r>
              <a:rPr lang="en-US" sz="1400" dirty="0">
                <a:solidFill>
                  <a:srgbClr val="B41F7A"/>
                </a:solidFill>
              </a:rPr>
              <a:t> https://www.indeed.com/career-advice/career-development/importance-of-business-communication</a:t>
            </a:r>
          </a:p>
        </p:txBody>
      </p:sp>
    </p:spTree>
    <p:extLst>
      <p:ext uri="{BB962C8B-B14F-4D97-AF65-F5344CB8AC3E}">
        <p14:creationId xmlns:p14="http://schemas.microsoft.com/office/powerpoint/2010/main" val="2918936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848348" y="820529"/>
            <a:ext cx="3984914" cy="108528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ΘΑ ΒΙΏΣΟΥΝ </a:t>
            </a:r>
          </a:p>
          <a:p>
            <a:pPr algn="l">
              <a:lnSpc>
                <a:spcPts val="2280"/>
              </a:lnSpc>
              <a:spcBef>
                <a:spcPts val="0"/>
              </a:spcBef>
            </a:pPr>
            <a:r>
              <a:rPr lang="en-US" sz="2200" dirty="0">
                <a:solidFill>
                  <a:srgbClr val="595959"/>
                </a:solidFill>
              </a:rPr>
              <a:t>Η εταιρεία σας θα αντιμετωπίσει μια κρίση - και αρκετές με την πάροδο του χρόνου</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31029" y="2965934"/>
            <a:ext cx="3984914" cy="1157102"/>
          </a:xfrm>
        </p:spPr>
        <p:txBody>
          <a:bodyPr>
            <a:noAutofit/>
          </a:bodyPr>
          <a:lstStyle/>
          <a:p>
            <a:pPr>
              <a:lnSpc>
                <a:spcPts val="2280"/>
              </a:lnSpc>
              <a:spcBef>
                <a:spcPts val="0"/>
              </a:spcBef>
            </a:pPr>
            <a:r>
              <a:rPr lang="en-US" sz="2200" b="1" dirty="0">
                <a:solidFill>
                  <a:srgbClr val="F16924"/>
                </a:solidFill>
              </a:rPr>
              <a:t>ΣΧΕΔΙΑΣΜΟΣ </a:t>
            </a:r>
          </a:p>
          <a:p>
            <a:pPr>
              <a:lnSpc>
                <a:spcPts val="2280"/>
              </a:lnSpc>
              <a:spcBef>
                <a:spcPts val="0"/>
              </a:spcBef>
            </a:pPr>
            <a:r>
              <a:rPr lang="en-US" sz="2200" dirty="0"/>
              <a:t>Ο προγραμματισμός αυξάνει τις πιθανότητες διαχείρισης της κρίσης</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848348" y="5071971"/>
            <a:ext cx="4139241" cy="11736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ΕΠΙΚΟΙΝΩΝΙΑ </a:t>
            </a:r>
          </a:p>
          <a:p>
            <a:pPr algn="l">
              <a:lnSpc>
                <a:spcPts val="2280"/>
              </a:lnSpc>
              <a:spcBef>
                <a:spcPts val="0"/>
              </a:spcBef>
            </a:pPr>
            <a:r>
              <a:rPr lang="en-US" sz="2200" dirty="0">
                <a:solidFill>
                  <a:srgbClr val="595959"/>
                </a:solidFill>
              </a:rPr>
              <a:t>Η επικοινωνία με τα ενδιαφερόμενα μέρη βελτιώνει την ικανότητά σας να διαχειριστείτε την κρίση και να ανακάμψετε από αυτήν.</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76057" y="521641"/>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Σημασία της επικοινωνίας σε κρίση</a:t>
            </a:r>
          </a:p>
        </p:txBody>
      </p:sp>
      <p:sp>
        <p:nvSpPr>
          <p:cNvPr id="215" name="Rectangle 214">
            <a:extLst>
              <a:ext uri="{FF2B5EF4-FFF2-40B4-BE49-F238E27FC236}">
                <a16:creationId xmlns:a16="http://schemas.microsoft.com/office/drawing/2014/main" id="{13AFE945-1351-4152-C7FB-365CFAADD6FC}"/>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descr="Icon&#10;&#10;Description automatically generated">
            <a:extLst>
              <a:ext uri="{FF2B5EF4-FFF2-40B4-BE49-F238E27FC236}">
                <a16:creationId xmlns:a16="http://schemas.microsoft.com/office/drawing/2014/main" id="{ED827608-8BEA-2849-C9B3-1358FD68C059}"/>
              </a:ext>
            </a:extLst>
          </p:cNvPr>
          <p:cNvPicPr/>
          <p:nvPr/>
        </p:nvPicPr>
        <p:blipFill rotWithShape="1">
          <a:blip r:embed="rId2" cstate="screen">
            <a:extLst>
              <a:ext uri="{28A0092B-C50C-407E-A947-70E740481C1C}">
                <a14:useLocalDpi xmlns:a14="http://schemas.microsoft.com/office/drawing/2010/main"/>
              </a:ext>
            </a:extLst>
          </a:blip>
          <a:srcRect l="18944" t="-17643" r="9491" b="40286"/>
          <a:stretch/>
        </p:blipFill>
        <p:spPr>
          <a:xfrm>
            <a:off x="149134" y="2637782"/>
            <a:ext cx="4250484" cy="4220217"/>
          </a:xfrm>
          <a:prstGeom prst="rect">
            <a:avLst/>
          </a:prstGeom>
        </p:spPr>
      </p:pic>
    </p:spTree>
    <p:extLst>
      <p:ext uri="{BB962C8B-B14F-4D97-AF65-F5344CB8AC3E}">
        <p14:creationId xmlns:p14="http://schemas.microsoft.com/office/powerpoint/2010/main" val="23820215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159908" y="837186"/>
            <a:ext cx="5578549" cy="5851667"/>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Ανάλυση των ενδιαφερομένων μερών</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Γνωρίστε με ποιους πρέπει να επικοινωνήσετε (βλ. ενότητα Ανάλυση ενδιαφερόμενων μερών)</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Αποσαφήνιση αρμοδιοτήτων</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Καθορίστε με σαφήνεια ποιος μπορεί να επικοινωνεί με ποιον</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Ενδυνάμωση του λαού</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Εκπαίδευση των αρμόδιων ατόμων στη στρατηγική επικοινωνίας</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Προετοιμάστε τα υλικά</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Ενημερώστε εκ των προτέρων τις σχετικές πληροφορίες για την εταιρεία σας, οι οποίες ενδέχεται να είναι επίσης σημαντικές κατά τη διάρκεια της κρίσης και δημιουργήστε κιτ επικοινωνίας. </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550490"/>
            <a:ext cx="3654315" cy="3041709"/>
          </a:xfrm>
        </p:spPr>
        <p:txBody>
          <a:bodyPr>
            <a:normAutofit/>
          </a:bodyPr>
          <a:lstStyle/>
          <a:p>
            <a:r>
              <a:rPr lang="en-GB" sz="3200" dirty="0">
                <a:solidFill>
                  <a:schemeClr val="bg1"/>
                </a:solidFill>
              </a:rPr>
              <a:t>Προετοιμαστείτε για επικοινωνία </a:t>
            </a:r>
            <a:r>
              <a:rPr lang="en-GB" sz="3200" b="1" dirty="0">
                <a:solidFill>
                  <a:schemeClr val="bg1"/>
                </a:solidFill>
              </a:rPr>
              <a:t>ΠΡΙΝ </a:t>
            </a:r>
            <a:r>
              <a:rPr lang="en-GB" sz="3200" dirty="0">
                <a:solidFill>
                  <a:schemeClr val="bg1"/>
                </a:solidFill>
              </a:rPr>
              <a:t>από μια κρίση</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670330"/>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08382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4564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79830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4117214"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Σε μια κρίση, η επικοινωνία με τα ενδιαφερόμενα μέρη είναι ένα εξαιρετικά σημαντικό ζήτημα. Διότι κατά τη διάρκεια του κύκλου ζωής μιας εταιρείας, η κρίση είναι σχεδόν βέβαιο ότι θα εμφανιστεί. Μια εταιρεία πρέπει οπωσδήποτε να προετοιμαστεί πριν από μια κρίση.</a:t>
            </a:r>
          </a:p>
          <a:p>
            <a:pPr marL="12700" indent="-12700"/>
            <a:r>
              <a:rPr lang="en-US" sz="2000" dirty="0">
                <a:solidFill>
                  <a:schemeClr val="bg1"/>
                </a:solidFill>
              </a:rPr>
              <a:t> </a:t>
            </a:r>
          </a:p>
          <a:p>
            <a:pPr marL="12700" indent="-12700"/>
            <a:r>
              <a:rPr lang="en-US" sz="2000" dirty="0">
                <a:solidFill>
                  <a:schemeClr val="bg1"/>
                </a:solidFill>
              </a:rPr>
              <a:t>ΚΑΙ: Χτίστε εκ των προτέρων μια "Τράπεζα Καλής Θέλησης" με θετικούς ενδιαφερόμενους.</a:t>
            </a:r>
          </a:p>
          <a:p>
            <a:pPr marL="12700" indent="-1270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274828"/>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190940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9826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6107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6160847" y="406400"/>
            <a:ext cx="5624753"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Δημιουργήστε ένα σχέδιο επικοινωνίας ΑΝΕΞΑΡΤΗΤΟ αλλά ΕΝΣΩΜΑΤΩΜΕΝΟ με τα επιχειρησιακά και επιχειρησιακά σχέδια και τα σχέδια συνέχειας του </a:t>
            </a:r>
            <a:r>
              <a:rPr lang="en-US" dirty="0" err="1">
                <a:solidFill>
                  <a:schemeClr val="bg1"/>
                </a:solidFill>
              </a:rPr>
              <a:t>οργανισμού.</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5" y="282511"/>
            <a:ext cx="5437049"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Προετοιμαστείτε για επικοινωνία </a:t>
            </a:r>
            <a:r>
              <a:rPr lang="en-GB" b="1" dirty="0">
                <a:solidFill>
                  <a:schemeClr val="bg1"/>
                </a:solidFill>
              </a:rPr>
              <a:t>ΠΡΙΝ </a:t>
            </a:r>
            <a:r>
              <a:rPr lang="en-GB" dirty="0">
                <a:solidFill>
                  <a:schemeClr val="bg1"/>
                </a:solidFill>
              </a:rPr>
              <a:t>από μια κρίση</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424072" y="858511"/>
            <a:ext cx="118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25" name="Group 124">
            <a:extLst>
              <a:ext uri="{FF2B5EF4-FFF2-40B4-BE49-F238E27FC236}">
                <a16:creationId xmlns:a16="http://schemas.microsoft.com/office/drawing/2014/main" id="{D59F4555-67E3-BEC3-8307-83F8DD3F8604}"/>
              </a:ext>
            </a:extLst>
          </p:cNvPr>
          <p:cNvGrpSpPr/>
          <p:nvPr/>
        </p:nvGrpSpPr>
        <p:grpSpPr>
          <a:xfrm>
            <a:off x="704942" y="2001960"/>
            <a:ext cx="10652423" cy="4674793"/>
            <a:chOff x="700047" y="2156480"/>
            <a:chExt cx="10961127" cy="4810267"/>
          </a:xfrm>
        </p:grpSpPr>
        <p:cxnSp>
          <p:nvCxnSpPr>
            <p:cNvPr id="60" name="Straight Connector 59">
              <a:extLst>
                <a:ext uri="{FF2B5EF4-FFF2-40B4-BE49-F238E27FC236}">
                  <a16:creationId xmlns:a16="http://schemas.microsoft.com/office/drawing/2014/main" id="{2BACD4A3-70E1-AE2F-A73B-1B767DED7A71}"/>
                </a:ext>
              </a:extLst>
            </p:cNvPr>
            <p:cNvCxnSpPr/>
            <p:nvPr/>
          </p:nvCxnSpPr>
          <p:spPr>
            <a:xfrm>
              <a:off x="6795806" y="2959036"/>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ED557A5-5A12-BF08-FF4C-0D2FD1116128}"/>
                </a:ext>
              </a:extLst>
            </p:cNvPr>
            <p:cNvCxnSpPr>
              <a:cxnSpLocks/>
            </p:cNvCxnSpPr>
            <p:nvPr/>
          </p:nvCxnSpPr>
          <p:spPr>
            <a:xfrm flipV="1">
              <a:off x="7557934" y="4450304"/>
              <a:ext cx="1052898" cy="3904"/>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60D10B-DDCB-508B-1D56-9AC8082A1EEE}"/>
                </a:ext>
              </a:extLst>
            </p:cNvPr>
            <p:cNvCxnSpPr>
              <a:cxnSpLocks/>
            </p:cNvCxnSpPr>
            <p:nvPr/>
          </p:nvCxnSpPr>
          <p:spPr>
            <a:xfrm>
              <a:off x="6424851" y="5943390"/>
              <a:ext cx="1438909"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3" name="Freeform 400">
              <a:extLst>
                <a:ext uri="{FF2B5EF4-FFF2-40B4-BE49-F238E27FC236}">
                  <a16:creationId xmlns:a16="http://schemas.microsoft.com/office/drawing/2014/main" id="{8AE71028-54A9-2DB2-951B-578B3A9B1160}"/>
                </a:ext>
              </a:extLst>
            </p:cNvPr>
            <p:cNvSpPr>
              <a:spLocks noChangeArrowheads="1"/>
            </p:cNvSpPr>
            <p:nvPr/>
          </p:nvSpPr>
          <p:spPr bwMode="auto">
            <a:xfrm rot="10800000">
              <a:off x="5939856" y="4461815"/>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4" name="Freeform 400">
              <a:extLst>
                <a:ext uri="{FF2B5EF4-FFF2-40B4-BE49-F238E27FC236}">
                  <a16:creationId xmlns:a16="http://schemas.microsoft.com/office/drawing/2014/main" id="{F203C847-EE0D-F1DF-C119-397114516B59}"/>
                </a:ext>
              </a:extLst>
            </p:cNvPr>
            <p:cNvSpPr>
              <a:spLocks noChangeArrowheads="1"/>
            </p:cNvSpPr>
            <p:nvPr/>
          </p:nvSpPr>
          <p:spPr bwMode="auto">
            <a:xfrm rot="18000000">
              <a:off x="3659853" y="3450953"/>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5" name="Freeform 400">
              <a:extLst>
                <a:ext uri="{FF2B5EF4-FFF2-40B4-BE49-F238E27FC236}">
                  <a16:creationId xmlns:a16="http://schemas.microsoft.com/office/drawing/2014/main" id="{C27D637E-D86E-8794-B9FF-B6728DAF4E8D}"/>
                </a:ext>
              </a:extLst>
            </p:cNvPr>
            <p:cNvSpPr>
              <a:spLocks noChangeArrowheads="1"/>
            </p:cNvSpPr>
            <p:nvPr/>
          </p:nvSpPr>
          <p:spPr bwMode="auto">
            <a:xfrm rot="3600000">
              <a:off x="5669611" y="1990698"/>
              <a:ext cx="1647697" cy="2267601"/>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B41F7A"/>
            </a:solidFill>
            <a:ln w="22680" cap="flat">
              <a:noFill/>
              <a:round/>
              <a:headEnd/>
              <a:tailEnd/>
            </a:ln>
            <a:effectLst/>
          </p:spPr>
          <p:txBody>
            <a:bodyPr wrap="none" anchor="ctr"/>
            <a:lstStyle/>
            <a:p>
              <a:endParaRPr lang="es-MX" sz="2200" dirty="0">
                <a:latin typeface="Calibri" panose="020F0502020204030204" pitchFamily="34" charset="0"/>
                <a:cs typeface="Calibri" panose="020F0502020204030204" pitchFamily="34" charset="0"/>
              </a:endParaRPr>
            </a:p>
          </p:txBody>
        </p:sp>
        <p:sp>
          <p:nvSpPr>
            <p:cNvPr id="66" name="Freeform 394">
              <a:extLst>
                <a:ext uri="{FF2B5EF4-FFF2-40B4-BE49-F238E27FC236}">
                  <a16:creationId xmlns:a16="http://schemas.microsoft.com/office/drawing/2014/main" id="{1D4393A1-2CC7-A04C-7091-4FABEB570FA6}"/>
                </a:ext>
              </a:extLst>
            </p:cNvPr>
            <p:cNvSpPr>
              <a:spLocks noChangeArrowheads="1"/>
            </p:cNvSpPr>
            <p:nvPr/>
          </p:nvSpPr>
          <p:spPr bwMode="auto">
            <a:xfrm>
              <a:off x="5905529" y="3485138"/>
              <a:ext cx="2283756" cy="1898082"/>
            </a:xfrm>
            <a:custGeom>
              <a:avLst/>
              <a:gdLst>
                <a:gd name="T0" fmla="*/ 0 w 4987"/>
                <a:gd name="T1" fmla="*/ 2050 h 4147"/>
                <a:gd name="T2" fmla="*/ 0 w 4987"/>
                <a:gd name="T3" fmla="*/ 2050 h 4147"/>
                <a:gd name="T4" fmla="*/ 2474 w 4987"/>
                <a:gd name="T5" fmla="*/ 3504 h 4147"/>
                <a:gd name="T6" fmla="*/ 4977 w 4987"/>
                <a:gd name="T7" fmla="*/ 2086 h 4147"/>
                <a:gd name="T8" fmla="*/ 4977 w 4987"/>
                <a:gd name="T9" fmla="*/ 2086 h 4147"/>
                <a:gd name="T10" fmla="*/ 2492 w 4987"/>
                <a:gd name="T11" fmla="*/ 632 h 4147"/>
                <a:gd name="T12" fmla="*/ 0 w 4987"/>
                <a:gd name="T13" fmla="*/ 2050 h 4147"/>
              </a:gdLst>
              <a:ahLst/>
              <a:cxnLst>
                <a:cxn ang="0">
                  <a:pos x="T0" y="T1"/>
                </a:cxn>
                <a:cxn ang="0">
                  <a:pos x="T2" y="T3"/>
                </a:cxn>
                <a:cxn ang="0">
                  <a:pos x="T4" y="T5"/>
                </a:cxn>
                <a:cxn ang="0">
                  <a:pos x="T6" y="T7"/>
                </a:cxn>
                <a:cxn ang="0">
                  <a:pos x="T8" y="T9"/>
                </a:cxn>
                <a:cxn ang="0">
                  <a:pos x="T10" y="T11"/>
                </a:cxn>
                <a:cxn ang="0">
                  <a:pos x="T12" y="T13"/>
                </a:cxn>
              </a:cxnLst>
              <a:rect l="0" t="0" r="r" b="b"/>
              <a:pathLst>
                <a:path w="4987" h="4147">
                  <a:moveTo>
                    <a:pt x="0" y="2050"/>
                  </a:moveTo>
                  <a:lnTo>
                    <a:pt x="0" y="2050"/>
                  </a:lnTo>
                  <a:cubicBezTo>
                    <a:pt x="2474" y="3504"/>
                    <a:pt x="2474" y="3504"/>
                    <a:pt x="2474" y="3504"/>
                  </a:cubicBezTo>
                  <a:cubicBezTo>
                    <a:pt x="3577" y="4146"/>
                    <a:pt x="4968" y="3360"/>
                    <a:pt x="4977" y="2086"/>
                  </a:cubicBezTo>
                  <a:lnTo>
                    <a:pt x="4977" y="2086"/>
                  </a:lnTo>
                  <a:cubicBezTo>
                    <a:pt x="4986" y="803"/>
                    <a:pt x="3604" y="0"/>
                    <a:pt x="2492" y="632"/>
                  </a:cubicBezTo>
                  <a:cubicBezTo>
                    <a:pt x="0" y="2050"/>
                    <a:pt x="0" y="2050"/>
                    <a:pt x="0" y="2050"/>
                  </a:cubicBezTo>
                </a:path>
              </a:pathLst>
            </a:custGeom>
            <a:solidFill>
              <a:srgbClr val="7F1C58"/>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7" name="Freeform 397">
              <a:extLst>
                <a:ext uri="{FF2B5EF4-FFF2-40B4-BE49-F238E27FC236}">
                  <a16:creationId xmlns:a16="http://schemas.microsoft.com/office/drawing/2014/main" id="{445B7913-BAD9-8B43-2120-40A44BEC35E2}"/>
                </a:ext>
              </a:extLst>
            </p:cNvPr>
            <p:cNvSpPr>
              <a:spLocks noChangeArrowheads="1"/>
            </p:cNvSpPr>
            <p:nvPr/>
          </p:nvSpPr>
          <p:spPr bwMode="auto">
            <a:xfrm>
              <a:off x="4255360" y="4441105"/>
              <a:ext cx="1647697" cy="2267603"/>
            </a:xfrm>
            <a:custGeom>
              <a:avLst/>
              <a:gdLst>
                <a:gd name="T0" fmla="*/ 3588 w 3598"/>
                <a:gd name="T1" fmla="*/ 0 h 4952"/>
                <a:gd name="T2" fmla="*/ 3588 w 3598"/>
                <a:gd name="T3" fmla="*/ 0 h 4952"/>
                <a:gd name="T4" fmla="*/ 1103 w 3598"/>
                <a:gd name="T5" fmla="*/ 1445 h 4952"/>
                <a:gd name="T6" fmla="*/ 1103 w 3598"/>
                <a:gd name="T7" fmla="*/ 4319 h 4952"/>
                <a:gd name="T8" fmla="*/ 1103 w 3598"/>
                <a:gd name="T9" fmla="*/ 4319 h 4952"/>
                <a:gd name="T10" fmla="*/ 3597 w 3598"/>
                <a:gd name="T11" fmla="*/ 2873 h 4952"/>
                <a:gd name="T12" fmla="*/ 3588 w 3598"/>
                <a:gd name="T13" fmla="*/ 0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88" y="0"/>
                  </a:moveTo>
                  <a:lnTo>
                    <a:pt x="3588" y="0"/>
                  </a:lnTo>
                  <a:cubicBezTo>
                    <a:pt x="1103" y="1445"/>
                    <a:pt x="1103" y="1445"/>
                    <a:pt x="1103" y="1445"/>
                  </a:cubicBezTo>
                  <a:cubicBezTo>
                    <a:pt x="0" y="2087"/>
                    <a:pt x="0" y="3677"/>
                    <a:pt x="1103" y="4319"/>
                  </a:cubicBezTo>
                  <a:lnTo>
                    <a:pt x="1103" y="4319"/>
                  </a:lnTo>
                  <a:cubicBezTo>
                    <a:pt x="2214" y="4951"/>
                    <a:pt x="3597" y="4147"/>
                    <a:pt x="3597" y="2873"/>
                  </a:cubicBezTo>
                  <a:cubicBezTo>
                    <a:pt x="3588" y="0"/>
                    <a:pt x="3588" y="0"/>
                    <a:pt x="3588" y="0"/>
                  </a:cubicBezTo>
                </a:path>
              </a:pathLst>
            </a:custGeom>
            <a:solidFill>
              <a:srgbClr val="EDA13E"/>
            </a:solidFill>
            <a:ln w="22680" cap="flat">
              <a:noFill/>
              <a:round/>
              <a:headEnd/>
              <a:tailEnd/>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8" name="Freeform 399">
              <a:extLst>
                <a:ext uri="{FF2B5EF4-FFF2-40B4-BE49-F238E27FC236}">
                  <a16:creationId xmlns:a16="http://schemas.microsoft.com/office/drawing/2014/main" id="{DC8D8BE4-FD34-199C-3EA1-5FAAE69F25CB}"/>
                </a:ext>
              </a:extLst>
            </p:cNvPr>
            <p:cNvSpPr>
              <a:spLocks noChangeArrowheads="1"/>
            </p:cNvSpPr>
            <p:nvPr/>
          </p:nvSpPr>
          <p:spPr bwMode="auto">
            <a:xfrm>
              <a:off x="4257832" y="2156480"/>
              <a:ext cx="1647697" cy="2267602"/>
            </a:xfrm>
            <a:custGeom>
              <a:avLst/>
              <a:gdLst>
                <a:gd name="T0" fmla="*/ 3597 w 3598"/>
                <a:gd name="T1" fmla="*/ 4951 h 4952"/>
                <a:gd name="T2" fmla="*/ 3597 w 3598"/>
                <a:gd name="T3" fmla="*/ 4951 h 4952"/>
                <a:gd name="T4" fmla="*/ 3597 w 3598"/>
                <a:gd name="T5" fmla="*/ 2078 h 4952"/>
                <a:gd name="T6" fmla="*/ 1103 w 3598"/>
                <a:gd name="T7" fmla="*/ 642 h 4952"/>
                <a:gd name="T8" fmla="*/ 1103 w 3598"/>
                <a:gd name="T9" fmla="*/ 642 h 4952"/>
                <a:gd name="T10" fmla="*/ 1103 w 3598"/>
                <a:gd name="T11" fmla="*/ 3515 h 4952"/>
                <a:gd name="T12" fmla="*/ 3597 w 3598"/>
                <a:gd name="T13" fmla="*/ 4951 h 4952"/>
              </a:gdLst>
              <a:ahLst/>
              <a:cxnLst>
                <a:cxn ang="0">
                  <a:pos x="T0" y="T1"/>
                </a:cxn>
                <a:cxn ang="0">
                  <a:pos x="T2" y="T3"/>
                </a:cxn>
                <a:cxn ang="0">
                  <a:pos x="T4" y="T5"/>
                </a:cxn>
                <a:cxn ang="0">
                  <a:pos x="T6" y="T7"/>
                </a:cxn>
                <a:cxn ang="0">
                  <a:pos x="T8" y="T9"/>
                </a:cxn>
                <a:cxn ang="0">
                  <a:pos x="T10" y="T11"/>
                </a:cxn>
                <a:cxn ang="0">
                  <a:pos x="T12" y="T13"/>
                </a:cxn>
              </a:cxnLst>
              <a:rect l="0" t="0" r="r" b="b"/>
              <a:pathLst>
                <a:path w="3598" h="4952">
                  <a:moveTo>
                    <a:pt x="3597" y="4951"/>
                  </a:moveTo>
                  <a:lnTo>
                    <a:pt x="3597" y="4951"/>
                  </a:lnTo>
                  <a:cubicBezTo>
                    <a:pt x="3597" y="2078"/>
                    <a:pt x="3597" y="2078"/>
                    <a:pt x="3597" y="2078"/>
                  </a:cubicBezTo>
                  <a:cubicBezTo>
                    <a:pt x="3588" y="804"/>
                    <a:pt x="2205" y="0"/>
                    <a:pt x="1103" y="642"/>
                  </a:cubicBezTo>
                  <a:lnTo>
                    <a:pt x="1103" y="642"/>
                  </a:lnTo>
                  <a:cubicBezTo>
                    <a:pt x="0" y="1283"/>
                    <a:pt x="0" y="2882"/>
                    <a:pt x="1103" y="3515"/>
                  </a:cubicBezTo>
                  <a:cubicBezTo>
                    <a:pt x="3597" y="4951"/>
                    <a:pt x="3597" y="4951"/>
                    <a:pt x="3597" y="4951"/>
                  </a:cubicBezTo>
                </a:path>
              </a:pathLst>
            </a:custGeom>
            <a:solidFill>
              <a:srgbClr val="F16924"/>
            </a:solidFill>
            <a:ln>
              <a:noFill/>
            </a:ln>
            <a:effectLst/>
          </p:spPr>
          <p:txBody>
            <a:bodyPr wrap="none" anchor="ctr"/>
            <a:lstStyle/>
            <a:p>
              <a:endParaRPr lang="es-MX" sz="2200">
                <a:latin typeface="Calibri" panose="020F0502020204030204" pitchFamily="34" charset="0"/>
                <a:cs typeface="Calibri" panose="020F0502020204030204" pitchFamily="34" charset="0"/>
              </a:endParaRPr>
            </a:p>
          </p:txBody>
        </p:sp>
        <p:sp>
          <p:nvSpPr>
            <p:cNvPr id="69" name="Google Shape;264;p9">
              <a:extLst>
                <a:ext uri="{FF2B5EF4-FFF2-40B4-BE49-F238E27FC236}">
                  <a16:creationId xmlns:a16="http://schemas.microsoft.com/office/drawing/2014/main" id="{2D96C5ED-E474-A071-571D-0273CA2C8C1C}"/>
                </a:ext>
              </a:extLst>
            </p:cNvPr>
            <p:cNvSpPr txBox="1"/>
            <p:nvPr/>
          </p:nvSpPr>
          <p:spPr>
            <a:xfrm>
              <a:off x="7863759" y="2796450"/>
              <a:ext cx="320622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Προετοιμαστείτε για την επικοινωνία σε περίπτωση κρίσης πριν η κρίση είναι κρίσιμη</a:t>
              </a:r>
            </a:p>
          </p:txBody>
        </p:sp>
        <p:sp>
          <p:nvSpPr>
            <p:cNvPr id="70" name="Text Placeholder 2">
              <a:extLst>
                <a:ext uri="{FF2B5EF4-FFF2-40B4-BE49-F238E27FC236}">
                  <a16:creationId xmlns:a16="http://schemas.microsoft.com/office/drawing/2014/main" id="{10213E99-F594-C43A-1629-3757E55C1144}"/>
                </a:ext>
              </a:extLst>
            </p:cNvPr>
            <p:cNvSpPr txBox="1">
              <a:spLocks/>
            </p:cNvSpPr>
            <p:nvPr/>
          </p:nvSpPr>
          <p:spPr>
            <a:xfrm>
              <a:off x="6514371" y="2589528"/>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grpSp>
          <p:nvGrpSpPr>
            <p:cNvPr id="71" name="Graphic 3">
              <a:extLst>
                <a:ext uri="{FF2B5EF4-FFF2-40B4-BE49-F238E27FC236}">
                  <a16:creationId xmlns:a16="http://schemas.microsoft.com/office/drawing/2014/main" id="{286854FC-D95D-324F-AE78-539AF6E51275}"/>
                </a:ext>
              </a:extLst>
            </p:cNvPr>
            <p:cNvGrpSpPr/>
            <p:nvPr/>
          </p:nvGrpSpPr>
          <p:grpSpPr>
            <a:xfrm>
              <a:off x="6062744" y="3189495"/>
              <a:ext cx="704267" cy="702372"/>
              <a:chOff x="2489340" y="369316"/>
              <a:chExt cx="1020309" cy="1017564"/>
            </a:xfrm>
            <a:solidFill>
              <a:schemeClr val="bg1"/>
            </a:solidFill>
          </p:grpSpPr>
          <p:grpSp>
            <p:nvGrpSpPr>
              <p:cNvPr id="72" name="Graphic 3">
                <a:extLst>
                  <a:ext uri="{FF2B5EF4-FFF2-40B4-BE49-F238E27FC236}">
                    <a16:creationId xmlns:a16="http://schemas.microsoft.com/office/drawing/2014/main" id="{8F15D959-0444-2B4B-06F8-5EF4F635222B}"/>
                  </a:ext>
                </a:extLst>
              </p:cNvPr>
              <p:cNvGrpSpPr/>
              <p:nvPr/>
            </p:nvGrpSpPr>
            <p:grpSpPr>
              <a:xfrm>
                <a:off x="2489340" y="369316"/>
                <a:ext cx="1020309" cy="1017564"/>
                <a:chOff x="2489340" y="369316"/>
                <a:chExt cx="1020309" cy="1017564"/>
              </a:xfrm>
              <a:grpFill/>
            </p:grpSpPr>
            <p:sp>
              <p:nvSpPr>
                <p:cNvPr id="74" name="Freeform 73">
                  <a:extLst>
                    <a:ext uri="{FF2B5EF4-FFF2-40B4-BE49-F238E27FC236}">
                      <a16:creationId xmlns:a16="http://schemas.microsoft.com/office/drawing/2014/main" id="{7F5A26C3-3B1D-578C-9868-38CDCB6B3FF6}"/>
                    </a:ext>
                  </a:extLst>
                </p:cNvPr>
                <p:cNvSpPr/>
                <p:nvPr/>
              </p:nvSpPr>
              <p:spPr>
                <a:xfrm>
                  <a:off x="2489340" y="369316"/>
                  <a:ext cx="1020309" cy="1017564"/>
                </a:xfrm>
                <a:custGeom>
                  <a:avLst/>
                  <a:gdLst>
                    <a:gd name="connsiteX0" fmla="*/ 896885 w 1020309"/>
                    <a:gd name="connsiteY0" fmla="*/ 677462 h 1017564"/>
                    <a:gd name="connsiteX1" fmla="*/ 874943 w 1020309"/>
                    <a:gd name="connsiteY1" fmla="*/ 677462 h 1017564"/>
                    <a:gd name="connsiteX2" fmla="*/ 839287 w 1020309"/>
                    <a:gd name="connsiteY2" fmla="*/ 595179 h 1017564"/>
                    <a:gd name="connsiteX3" fmla="*/ 729576 w 1020309"/>
                    <a:gd name="connsiteY3" fmla="*/ 523868 h 1017564"/>
                    <a:gd name="connsiteX4" fmla="*/ 641808 w 1020309"/>
                    <a:gd name="connsiteY4" fmla="*/ 523868 h 1017564"/>
                    <a:gd name="connsiteX5" fmla="*/ 641808 w 1020309"/>
                    <a:gd name="connsiteY5" fmla="*/ 337360 h 1017564"/>
                    <a:gd name="connsiteX6" fmla="*/ 625351 w 1020309"/>
                    <a:gd name="connsiteY6" fmla="*/ 320903 h 1017564"/>
                    <a:gd name="connsiteX7" fmla="*/ 534840 w 1020309"/>
                    <a:gd name="connsiteY7" fmla="*/ 320903 h 1017564"/>
                    <a:gd name="connsiteX8" fmla="*/ 397701 w 1020309"/>
                    <a:gd name="connsiteY8" fmla="*/ 213936 h 1017564"/>
                    <a:gd name="connsiteX9" fmla="*/ 438843 w 1020309"/>
                    <a:gd name="connsiteY9" fmla="*/ 117939 h 1017564"/>
                    <a:gd name="connsiteX10" fmla="*/ 320904 w 1020309"/>
                    <a:gd name="connsiteY10" fmla="*/ 0 h 1017564"/>
                    <a:gd name="connsiteX11" fmla="*/ 202965 w 1020309"/>
                    <a:gd name="connsiteY11" fmla="*/ 117939 h 1017564"/>
                    <a:gd name="connsiteX12" fmla="*/ 244107 w 1020309"/>
                    <a:gd name="connsiteY12" fmla="*/ 213936 h 1017564"/>
                    <a:gd name="connsiteX13" fmla="*/ 106968 w 1020309"/>
                    <a:gd name="connsiteY13" fmla="*/ 320903 h 1017564"/>
                    <a:gd name="connsiteX14" fmla="*/ 16457 w 1020309"/>
                    <a:gd name="connsiteY14" fmla="*/ 320903 h 1017564"/>
                    <a:gd name="connsiteX15" fmla="*/ 0 w 1020309"/>
                    <a:gd name="connsiteY15" fmla="*/ 337360 h 1017564"/>
                    <a:gd name="connsiteX16" fmla="*/ 0 w 1020309"/>
                    <a:gd name="connsiteY16" fmla="*/ 880427 h 1017564"/>
                    <a:gd name="connsiteX17" fmla="*/ 16457 w 1020309"/>
                    <a:gd name="connsiteY17" fmla="*/ 896883 h 1017564"/>
                    <a:gd name="connsiteX18" fmla="*/ 32913 w 1020309"/>
                    <a:gd name="connsiteY18" fmla="*/ 896883 h 1017564"/>
                    <a:gd name="connsiteX19" fmla="*/ 32913 w 1020309"/>
                    <a:gd name="connsiteY19" fmla="*/ 913340 h 1017564"/>
                    <a:gd name="connsiteX20" fmla="*/ 85026 w 1020309"/>
                    <a:gd name="connsiteY20" fmla="*/ 965452 h 1017564"/>
                    <a:gd name="connsiteX21" fmla="*/ 183765 w 1020309"/>
                    <a:gd name="connsiteY21" fmla="*/ 965452 h 1017564"/>
                    <a:gd name="connsiteX22" fmla="*/ 271534 w 1020309"/>
                    <a:gd name="connsiteY22" fmla="*/ 1017565 h 1017564"/>
                    <a:gd name="connsiteX23" fmla="*/ 359303 w 1020309"/>
                    <a:gd name="connsiteY23" fmla="*/ 965452 h 1017564"/>
                    <a:gd name="connsiteX24" fmla="*/ 726833 w 1020309"/>
                    <a:gd name="connsiteY24" fmla="*/ 965452 h 1017564"/>
                    <a:gd name="connsiteX25" fmla="*/ 814602 w 1020309"/>
                    <a:gd name="connsiteY25" fmla="*/ 1017565 h 1017564"/>
                    <a:gd name="connsiteX26" fmla="*/ 902371 w 1020309"/>
                    <a:gd name="connsiteY26" fmla="*/ 965452 h 1017564"/>
                    <a:gd name="connsiteX27" fmla="*/ 968197 w 1020309"/>
                    <a:gd name="connsiteY27" fmla="*/ 965452 h 1017564"/>
                    <a:gd name="connsiteX28" fmla="*/ 1020309 w 1020309"/>
                    <a:gd name="connsiteY28" fmla="*/ 913340 h 1017564"/>
                    <a:gd name="connsiteX29" fmla="*/ 1020309 w 1020309"/>
                    <a:gd name="connsiteY29" fmla="*/ 795401 h 1017564"/>
                    <a:gd name="connsiteX30" fmla="*/ 896885 w 1020309"/>
                    <a:gd name="connsiteY30" fmla="*/ 677462 h 1017564"/>
                    <a:gd name="connsiteX31" fmla="*/ 896885 w 1020309"/>
                    <a:gd name="connsiteY31" fmla="*/ 677462 h 1017564"/>
                    <a:gd name="connsiteX32" fmla="*/ 710377 w 1020309"/>
                    <a:gd name="connsiteY32" fmla="*/ 559524 h 1017564"/>
                    <a:gd name="connsiteX33" fmla="*/ 729576 w 1020309"/>
                    <a:gd name="connsiteY33" fmla="*/ 559524 h 1017564"/>
                    <a:gd name="connsiteX34" fmla="*/ 806374 w 1020309"/>
                    <a:gd name="connsiteY34" fmla="*/ 608893 h 1017564"/>
                    <a:gd name="connsiteX35" fmla="*/ 836544 w 1020309"/>
                    <a:gd name="connsiteY35" fmla="*/ 677462 h 1017564"/>
                    <a:gd name="connsiteX36" fmla="*/ 726833 w 1020309"/>
                    <a:gd name="connsiteY36" fmla="*/ 677462 h 1017564"/>
                    <a:gd name="connsiteX37" fmla="*/ 710377 w 1020309"/>
                    <a:gd name="connsiteY37" fmla="*/ 661006 h 1017564"/>
                    <a:gd name="connsiteX38" fmla="*/ 710377 w 1020309"/>
                    <a:gd name="connsiteY38" fmla="*/ 559524 h 1017564"/>
                    <a:gd name="connsiteX39" fmla="*/ 540325 w 1020309"/>
                    <a:gd name="connsiteY39" fmla="*/ 438842 h 1017564"/>
                    <a:gd name="connsiteX40" fmla="*/ 455300 w 1020309"/>
                    <a:gd name="connsiteY40" fmla="*/ 438842 h 1017564"/>
                    <a:gd name="connsiteX41" fmla="*/ 444328 w 1020309"/>
                    <a:gd name="connsiteY41" fmla="*/ 353816 h 1017564"/>
                    <a:gd name="connsiteX42" fmla="*/ 515640 w 1020309"/>
                    <a:gd name="connsiteY42" fmla="*/ 353816 h 1017564"/>
                    <a:gd name="connsiteX43" fmla="*/ 540325 w 1020309"/>
                    <a:gd name="connsiteY43" fmla="*/ 438842 h 1017564"/>
                    <a:gd name="connsiteX44" fmla="*/ 540325 w 1020309"/>
                    <a:gd name="connsiteY44" fmla="*/ 438842 h 1017564"/>
                    <a:gd name="connsiteX45" fmla="*/ 340103 w 1020309"/>
                    <a:gd name="connsiteY45" fmla="*/ 559524 h 1017564"/>
                    <a:gd name="connsiteX46" fmla="*/ 340103 w 1020309"/>
                    <a:gd name="connsiteY46" fmla="*/ 474498 h 1017564"/>
                    <a:gd name="connsiteX47" fmla="*/ 425129 w 1020309"/>
                    <a:gd name="connsiteY47" fmla="*/ 474498 h 1017564"/>
                    <a:gd name="connsiteX48" fmla="*/ 414158 w 1020309"/>
                    <a:gd name="connsiteY48" fmla="*/ 559524 h 1017564"/>
                    <a:gd name="connsiteX49" fmla="*/ 340103 w 1020309"/>
                    <a:gd name="connsiteY49" fmla="*/ 559524 h 1017564"/>
                    <a:gd name="connsiteX50" fmla="*/ 400444 w 1020309"/>
                    <a:gd name="connsiteY50" fmla="*/ 592437 h 1017564"/>
                    <a:gd name="connsiteX51" fmla="*/ 337360 w 1020309"/>
                    <a:gd name="connsiteY51" fmla="*/ 674719 h 1017564"/>
                    <a:gd name="connsiteX52" fmla="*/ 337360 w 1020309"/>
                    <a:gd name="connsiteY52" fmla="*/ 592437 h 1017564"/>
                    <a:gd name="connsiteX53" fmla="*/ 400444 w 1020309"/>
                    <a:gd name="connsiteY53" fmla="*/ 592437 h 1017564"/>
                    <a:gd name="connsiteX54" fmla="*/ 340103 w 1020309"/>
                    <a:gd name="connsiteY54" fmla="*/ 438842 h 1017564"/>
                    <a:gd name="connsiteX55" fmla="*/ 340103 w 1020309"/>
                    <a:gd name="connsiteY55" fmla="*/ 353816 h 1017564"/>
                    <a:gd name="connsiteX56" fmla="*/ 414158 w 1020309"/>
                    <a:gd name="connsiteY56" fmla="*/ 353816 h 1017564"/>
                    <a:gd name="connsiteX57" fmla="*/ 425129 w 1020309"/>
                    <a:gd name="connsiteY57" fmla="*/ 438842 h 1017564"/>
                    <a:gd name="connsiteX58" fmla="*/ 340103 w 1020309"/>
                    <a:gd name="connsiteY58" fmla="*/ 438842 h 1017564"/>
                    <a:gd name="connsiteX59" fmla="*/ 436100 w 1020309"/>
                    <a:gd name="connsiteY59" fmla="*/ 592437 h 1017564"/>
                    <a:gd name="connsiteX60" fmla="*/ 493698 w 1020309"/>
                    <a:gd name="connsiteY60" fmla="*/ 592437 h 1017564"/>
                    <a:gd name="connsiteX61" fmla="*/ 400444 w 1020309"/>
                    <a:gd name="connsiteY61" fmla="*/ 661006 h 1017564"/>
                    <a:gd name="connsiteX62" fmla="*/ 436100 w 1020309"/>
                    <a:gd name="connsiteY62" fmla="*/ 592437 h 1017564"/>
                    <a:gd name="connsiteX63" fmla="*/ 436100 w 1020309"/>
                    <a:gd name="connsiteY63" fmla="*/ 592437 h 1017564"/>
                    <a:gd name="connsiteX64" fmla="*/ 447071 w 1020309"/>
                    <a:gd name="connsiteY64" fmla="*/ 559524 h 1017564"/>
                    <a:gd name="connsiteX65" fmla="*/ 458042 w 1020309"/>
                    <a:gd name="connsiteY65" fmla="*/ 474498 h 1017564"/>
                    <a:gd name="connsiteX66" fmla="*/ 543068 w 1020309"/>
                    <a:gd name="connsiteY66" fmla="*/ 474498 h 1017564"/>
                    <a:gd name="connsiteX67" fmla="*/ 518383 w 1020309"/>
                    <a:gd name="connsiteY67" fmla="*/ 559524 h 1017564"/>
                    <a:gd name="connsiteX68" fmla="*/ 447071 w 1020309"/>
                    <a:gd name="connsiteY68" fmla="*/ 559524 h 1017564"/>
                    <a:gd name="connsiteX69" fmla="*/ 496441 w 1020309"/>
                    <a:gd name="connsiteY69" fmla="*/ 320903 h 1017564"/>
                    <a:gd name="connsiteX70" fmla="*/ 438843 w 1020309"/>
                    <a:gd name="connsiteY70" fmla="*/ 320903 h 1017564"/>
                    <a:gd name="connsiteX71" fmla="*/ 405930 w 1020309"/>
                    <a:gd name="connsiteY71" fmla="*/ 252334 h 1017564"/>
                    <a:gd name="connsiteX72" fmla="*/ 496441 w 1020309"/>
                    <a:gd name="connsiteY72" fmla="*/ 320903 h 1017564"/>
                    <a:gd name="connsiteX73" fmla="*/ 496441 w 1020309"/>
                    <a:gd name="connsiteY73" fmla="*/ 320903 h 1017564"/>
                    <a:gd name="connsiteX74" fmla="*/ 400444 w 1020309"/>
                    <a:gd name="connsiteY74" fmla="*/ 320903 h 1017564"/>
                    <a:gd name="connsiteX75" fmla="*/ 337360 w 1020309"/>
                    <a:gd name="connsiteY75" fmla="*/ 320903 h 1017564"/>
                    <a:gd name="connsiteX76" fmla="*/ 337360 w 1020309"/>
                    <a:gd name="connsiteY76" fmla="*/ 293475 h 1017564"/>
                    <a:gd name="connsiteX77" fmla="*/ 364788 w 1020309"/>
                    <a:gd name="connsiteY77" fmla="*/ 260562 h 1017564"/>
                    <a:gd name="connsiteX78" fmla="*/ 400444 w 1020309"/>
                    <a:gd name="connsiteY78" fmla="*/ 320903 h 1017564"/>
                    <a:gd name="connsiteX79" fmla="*/ 400444 w 1020309"/>
                    <a:gd name="connsiteY79" fmla="*/ 320903 h 1017564"/>
                    <a:gd name="connsiteX80" fmla="*/ 235878 w 1020309"/>
                    <a:gd name="connsiteY80" fmla="*/ 117939 h 1017564"/>
                    <a:gd name="connsiteX81" fmla="*/ 320904 w 1020309"/>
                    <a:gd name="connsiteY81" fmla="*/ 32913 h 1017564"/>
                    <a:gd name="connsiteX82" fmla="*/ 405930 w 1020309"/>
                    <a:gd name="connsiteY82" fmla="*/ 117939 h 1017564"/>
                    <a:gd name="connsiteX83" fmla="*/ 356560 w 1020309"/>
                    <a:gd name="connsiteY83" fmla="*/ 213936 h 1017564"/>
                    <a:gd name="connsiteX84" fmla="*/ 356560 w 1020309"/>
                    <a:gd name="connsiteY84" fmla="*/ 213936 h 1017564"/>
                    <a:gd name="connsiteX85" fmla="*/ 320904 w 1020309"/>
                    <a:gd name="connsiteY85" fmla="*/ 260562 h 1017564"/>
                    <a:gd name="connsiteX86" fmla="*/ 285248 w 1020309"/>
                    <a:gd name="connsiteY86" fmla="*/ 213936 h 1017564"/>
                    <a:gd name="connsiteX87" fmla="*/ 285248 w 1020309"/>
                    <a:gd name="connsiteY87" fmla="*/ 213936 h 1017564"/>
                    <a:gd name="connsiteX88" fmla="*/ 235878 w 1020309"/>
                    <a:gd name="connsiteY88" fmla="*/ 117939 h 1017564"/>
                    <a:gd name="connsiteX89" fmla="*/ 235878 w 1020309"/>
                    <a:gd name="connsiteY89" fmla="*/ 117939 h 1017564"/>
                    <a:gd name="connsiteX90" fmla="*/ 277020 w 1020309"/>
                    <a:gd name="connsiteY90" fmla="*/ 260562 h 1017564"/>
                    <a:gd name="connsiteX91" fmla="*/ 304447 w 1020309"/>
                    <a:gd name="connsiteY91" fmla="*/ 293475 h 1017564"/>
                    <a:gd name="connsiteX92" fmla="*/ 304447 w 1020309"/>
                    <a:gd name="connsiteY92" fmla="*/ 320903 h 1017564"/>
                    <a:gd name="connsiteX93" fmla="*/ 241364 w 1020309"/>
                    <a:gd name="connsiteY93" fmla="*/ 320903 h 1017564"/>
                    <a:gd name="connsiteX94" fmla="*/ 277020 w 1020309"/>
                    <a:gd name="connsiteY94" fmla="*/ 260562 h 1017564"/>
                    <a:gd name="connsiteX95" fmla="*/ 277020 w 1020309"/>
                    <a:gd name="connsiteY95" fmla="*/ 260562 h 1017564"/>
                    <a:gd name="connsiteX96" fmla="*/ 233135 w 1020309"/>
                    <a:gd name="connsiteY96" fmla="*/ 559524 h 1017564"/>
                    <a:gd name="connsiteX97" fmla="*/ 222164 w 1020309"/>
                    <a:gd name="connsiteY97" fmla="*/ 474498 h 1017564"/>
                    <a:gd name="connsiteX98" fmla="*/ 307190 w 1020309"/>
                    <a:gd name="connsiteY98" fmla="*/ 474498 h 1017564"/>
                    <a:gd name="connsiteX99" fmla="*/ 307190 w 1020309"/>
                    <a:gd name="connsiteY99" fmla="*/ 559524 h 1017564"/>
                    <a:gd name="connsiteX100" fmla="*/ 233135 w 1020309"/>
                    <a:gd name="connsiteY100" fmla="*/ 559524 h 1017564"/>
                    <a:gd name="connsiteX101" fmla="*/ 304447 w 1020309"/>
                    <a:gd name="connsiteY101" fmla="*/ 592437 h 1017564"/>
                    <a:gd name="connsiteX102" fmla="*/ 304447 w 1020309"/>
                    <a:gd name="connsiteY102" fmla="*/ 674719 h 1017564"/>
                    <a:gd name="connsiteX103" fmla="*/ 241364 w 1020309"/>
                    <a:gd name="connsiteY103" fmla="*/ 592437 h 1017564"/>
                    <a:gd name="connsiteX104" fmla="*/ 304447 w 1020309"/>
                    <a:gd name="connsiteY104" fmla="*/ 592437 h 1017564"/>
                    <a:gd name="connsiteX105" fmla="*/ 205708 w 1020309"/>
                    <a:gd name="connsiteY105" fmla="*/ 592437 h 1017564"/>
                    <a:gd name="connsiteX106" fmla="*/ 238621 w 1020309"/>
                    <a:gd name="connsiteY106" fmla="*/ 661006 h 1017564"/>
                    <a:gd name="connsiteX107" fmla="*/ 145367 w 1020309"/>
                    <a:gd name="connsiteY107" fmla="*/ 592437 h 1017564"/>
                    <a:gd name="connsiteX108" fmla="*/ 205708 w 1020309"/>
                    <a:gd name="connsiteY108" fmla="*/ 592437 h 1017564"/>
                    <a:gd name="connsiteX109" fmla="*/ 126167 w 1020309"/>
                    <a:gd name="connsiteY109" fmla="*/ 559524 h 1017564"/>
                    <a:gd name="connsiteX110" fmla="*/ 101482 w 1020309"/>
                    <a:gd name="connsiteY110" fmla="*/ 474498 h 1017564"/>
                    <a:gd name="connsiteX111" fmla="*/ 186508 w 1020309"/>
                    <a:gd name="connsiteY111" fmla="*/ 474498 h 1017564"/>
                    <a:gd name="connsiteX112" fmla="*/ 197479 w 1020309"/>
                    <a:gd name="connsiteY112" fmla="*/ 559524 h 1017564"/>
                    <a:gd name="connsiteX113" fmla="*/ 126167 w 1020309"/>
                    <a:gd name="connsiteY113" fmla="*/ 559524 h 1017564"/>
                    <a:gd name="connsiteX114" fmla="*/ 219421 w 1020309"/>
                    <a:gd name="connsiteY114" fmla="*/ 438842 h 1017564"/>
                    <a:gd name="connsiteX115" fmla="*/ 230393 w 1020309"/>
                    <a:gd name="connsiteY115" fmla="*/ 353816 h 1017564"/>
                    <a:gd name="connsiteX116" fmla="*/ 304447 w 1020309"/>
                    <a:gd name="connsiteY116" fmla="*/ 353816 h 1017564"/>
                    <a:gd name="connsiteX117" fmla="*/ 304447 w 1020309"/>
                    <a:gd name="connsiteY117" fmla="*/ 438842 h 1017564"/>
                    <a:gd name="connsiteX118" fmla="*/ 219421 w 1020309"/>
                    <a:gd name="connsiteY118" fmla="*/ 438842 h 1017564"/>
                    <a:gd name="connsiteX119" fmla="*/ 241364 w 1020309"/>
                    <a:gd name="connsiteY119" fmla="*/ 252334 h 1017564"/>
                    <a:gd name="connsiteX120" fmla="*/ 208450 w 1020309"/>
                    <a:gd name="connsiteY120" fmla="*/ 320903 h 1017564"/>
                    <a:gd name="connsiteX121" fmla="*/ 150852 w 1020309"/>
                    <a:gd name="connsiteY121" fmla="*/ 320903 h 1017564"/>
                    <a:gd name="connsiteX122" fmla="*/ 241364 w 1020309"/>
                    <a:gd name="connsiteY122" fmla="*/ 252334 h 1017564"/>
                    <a:gd name="connsiteX123" fmla="*/ 241364 w 1020309"/>
                    <a:gd name="connsiteY123" fmla="*/ 252334 h 1017564"/>
                    <a:gd name="connsiteX124" fmla="*/ 126167 w 1020309"/>
                    <a:gd name="connsiteY124" fmla="*/ 353816 h 1017564"/>
                    <a:gd name="connsiteX125" fmla="*/ 197479 w 1020309"/>
                    <a:gd name="connsiteY125" fmla="*/ 353816 h 1017564"/>
                    <a:gd name="connsiteX126" fmla="*/ 186508 w 1020309"/>
                    <a:gd name="connsiteY126" fmla="*/ 438842 h 1017564"/>
                    <a:gd name="connsiteX127" fmla="*/ 101482 w 1020309"/>
                    <a:gd name="connsiteY127" fmla="*/ 438842 h 1017564"/>
                    <a:gd name="connsiteX128" fmla="*/ 126167 w 1020309"/>
                    <a:gd name="connsiteY128" fmla="*/ 353816 h 1017564"/>
                    <a:gd name="connsiteX129" fmla="*/ 126167 w 1020309"/>
                    <a:gd name="connsiteY129" fmla="*/ 353816 h 1017564"/>
                    <a:gd name="connsiteX130" fmla="*/ 32913 w 1020309"/>
                    <a:gd name="connsiteY130" fmla="*/ 353816 h 1017564"/>
                    <a:gd name="connsiteX131" fmla="*/ 87768 w 1020309"/>
                    <a:gd name="connsiteY131" fmla="*/ 353816 h 1017564"/>
                    <a:gd name="connsiteX132" fmla="*/ 65827 w 1020309"/>
                    <a:gd name="connsiteY132" fmla="*/ 455298 h 1017564"/>
                    <a:gd name="connsiteX133" fmla="*/ 320904 w 1020309"/>
                    <a:gd name="connsiteY133" fmla="*/ 710375 h 1017564"/>
                    <a:gd name="connsiteX134" fmla="*/ 575981 w 1020309"/>
                    <a:gd name="connsiteY134" fmla="*/ 455298 h 1017564"/>
                    <a:gd name="connsiteX135" fmla="*/ 554039 w 1020309"/>
                    <a:gd name="connsiteY135" fmla="*/ 353816 h 1017564"/>
                    <a:gd name="connsiteX136" fmla="*/ 608894 w 1020309"/>
                    <a:gd name="connsiteY136" fmla="*/ 353816 h 1017564"/>
                    <a:gd name="connsiteX137" fmla="*/ 608894 w 1020309"/>
                    <a:gd name="connsiteY137" fmla="*/ 743289 h 1017564"/>
                    <a:gd name="connsiteX138" fmla="*/ 32913 w 1020309"/>
                    <a:gd name="connsiteY138" fmla="*/ 743289 h 1017564"/>
                    <a:gd name="connsiteX139" fmla="*/ 32913 w 1020309"/>
                    <a:gd name="connsiteY139" fmla="*/ 353816 h 1017564"/>
                    <a:gd name="connsiteX140" fmla="*/ 170051 w 1020309"/>
                    <a:gd name="connsiteY140" fmla="*/ 932539 h 1017564"/>
                    <a:gd name="connsiteX141" fmla="*/ 85026 w 1020309"/>
                    <a:gd name="connsiteY141" fmla="*/ 932539 h 1017564"/>
                    <a:gd name="connsiteX142" fmla="*/ 68569 w 1020309"/>
                    <a:gd name="connsiteY142" fmla="*/ 916083 h 1017564"/>
                    <a:gd name="connsiteX143" fmla="*/ 68569 w 1020309"/>
                    <a:gd name="connsiteY143" fmla="*/ 899626 h 1017564"/>
                    <a:gd name="connsiteX144" fmla="*/ 172794 w 1020309"/>
                    <a:gd name="connsiteY144" fmla="*/ 899626 h 1017564"/>
                    <a:gd name="connsiteX145" fmla="*/ 170051 w 1020309"/>
                    <a:gd name="connsiteY145" fmla="*/ 932539 h 1017564"/>
                    <a:gd name="connsiteX146" fmla="*/ 170051 w 1020309"/>
                    <a:gd name="connsiteY146" fmla="*/ 932539 h 1017564"/>
                    <a:gd name="connsiteX147" fmla="*/ 271534 w 1020309"/>
                    <a:gd name="connsiteY147" fmla="*/ 981909 h 1017564"/>
                    <a:gd name="connsiteX148" fmla="*/ 208450 w 1020309"/>
                    <a:gd name="connsiteY148" fmla="*/ 940768 h 1017564"/>
                    <a:gd name="connsiteX149" fmla="*/ 222164 w 1020309"/>
                    <a:gd name="connsiteY149" fmla="*/ 866713 h 1017564"/>
                    <a:gd name="connsiteX150" fmla="*/ 296219 w 1020309"/>
                    <a:gd name="connsiteY150" fmla="*/ 852999 h 1017564"/>
                    <a:gd name="connsiteX151" fmla="*/ 337360 w 1020309"/>
                    <a:gd name="connsiteY151" fmla="*/ 916083 h 1017564"/>
                    <a:gd name="connsiteX152" fmla="*/ 271534 w 1020309"/>
                    <a:gd name="connsiteY152" fmla="*/ 981909 h 1017564"/>
                    <a:gd name="connsiteX153" fmla="*/ 271534 w 1020309"/>
                    <a:gd name="connsiteY153" fmla="*/ 981909 h 1017564"/>
                    <a:gd name="connsiteX154" fmla="*/ 271534 w 1020309"/>
                    <a:gd name="connsiteY154" fmla="*/ 811858 h 1017564"/>
                    <a:gd name="connsiteX155" fmla="*/ 183765 w 1020309"/>
                    <a:gd name="connsiteY155" fmla="*/ 863970 h 1017564"/>
                    <a:gd name="connsiteX156" fmla="*/ 35656 w 1020309"/>
                    <a:gd name="connsiteY156" fmla="*/ 863970 h 1017564"/>
                    <a:gd name="connsiteX157" fmla="*/ 35656 w 1020309"/>
                    <a:gd name="connsiteY157" fmla="*/ 778945 h 1017564"/>
                    <a:gd name="connsiteX158" fmla="*/ 611637 w 1020309"/>
                    <a:gd name="connsiteY158" fmla="*/ 778945 h 1017564"/>
                    <a:gd name="connsiteX159" fmla="*/ 611637 w 1020309"/>
                    <a:gd name="connsiteY159" fmla="*/ 863970 h 1017564"/>
                    <a:gd name="connsiteX160" fmla="*/ 359303 w 1020309"/>
                    <a:gd name="connsiteY160" fmla="*/ 863970 h 1017564"/>
                    <a:gd name="connsiteX161" fmla="*/ 271534 w 1020309"/>
                    <a:gd name="connsiteY161" fmla="*/ 811858 h 1017564"/>
                    <a:gd name="connsiteX162" fmla="*/ 271534 w 1020309"/>
                    <a:gd name="connsiteY162" fmla="*/ 811858 h 1017564"/>
                    <a:gd name="connsiteX163" fmla="*/ 713120 w 1020309"/>
                    <a:gd name="connsiteY163" fmla="*/ 932539 h 1017564"/>
                    <a:gd name="connsiteX164" fmla="*/ 370274 w 1020309"/>
                    <a:gd name="connsiteY164" fmla="*/ 932539 h 1017564"/>
                    <a:gd name="connsiteX165" fmla="*/ 370274 w 1020309"/>
                    <a:gd name="connsiteY165" fmla="*/ 899626 h 1017564"/>
                    <a:gd name="connsiteX166" fmla="*/ 713120 w 1020309"/>
                    <a:gd name="connsiteY166" fmla="*/ 899626 h 1017564"/>
                    <a:gd name="connsiteX167" fmla="*/ 713120 w 1020309"/>
                    <a:gd name="connsiteY167" fmla="*/ 932539 h 1017564"/>
                    <a:gd name="connsiteX168" fmla="*/ 713120 w 1020309"/>
                    <a:gd name="connsiteY168" fmla="*/ 932539 h 1017564"/>
                    <a:gd name="connsiteX169" fmla="*/ 814602 w 1020309"/>
                    <a:gd name="connsiteY169" fmla="*/ 981909 h 1017564"/>
                    <a:gd name="connsiteX170" fmla="*/ 751519 w 1020309"/>
                    <a:gd name="connsiteY170" fmla="*/ 940768 h 1017564"/>
                    <a:gd name="connsiteX171" fmla="*/ 765232 w 1020309"/>
                    <a:gd name="connsiteY171" fmla="*/ 866713 h 1017564"/>
                    <a:gd name="connsiteX172" fmla="*/ 839287 w 1020309"/>
                    <a:gd name="connsiteY172" fmla="*/ 852999 h 1017564"/>
                    <a:gd name="connsiteX173" fmla="*/ 880429 w 1020309"/>
                    <a:gd name="connsiteY173" fmla="*/ 916083 h 1017564"/>
                    <a:gd name="connsiteX174" fmla="*/ 814602 w 1020309"/>
                    <a:gd name="connsiteY174" fmla="*/ 981909 h 1017564"/>
                    <a:gd name="connsiteX175" fmla="*/ 814602 w 1020309"/>
                    <a:gd name="connsiteY175" fmla="*/ 981909 h 1017564"/>
                    <a:gd name="connsiteX176" fmla="*/ 981911 w 1020309"/>
                    <a:gd name="connsiteY176" fmla="*/ 913340 h 1017564"/>
                    <a:gd name="connsiteX177" fmla="*/ 965454 w 1020309"/>
                    <a:gd name="connsiteY177" fmla="*/ 929796 h 1017564"/>
                    <a:gd name="connsiteX178" fmla="*/ 913342 w 1020309"/>
                    <a:gd name="connsiteY178" fmla="*/ 929796 h 1017564"/>
                    <a:gd name="connsiteX179" fmla="*/ 913342 w 1020309"/>
                    <a:gd name="connsiteY179" fmla="*/ 896883 h 1017564"/>
                    <a:gd name="connsiteX180" fmla="*/ 981911 w 1020309"/>
                    <a:gd name="connsiteY180" fmla="*/ 896883 h 1017564"/>
                    <a:gd name="connsiteX181" fmla="*/ 981911 w 1020309"/>
                    <a:gd name="connsiteY181" fmla="*/ 913340 h 1017564"/>
                    <a:gd name="connsiteX182" fmla="*/ 981911 w 1020309"/>
                    <a:gd name="connsiteY182" fmla="*/ 863970 h 1017564"/>
                    <a:gd name="connsiteX183" fmla="*/ 899628 w 1020309"/>
                    <a:gd name="connsiteY183" fmla="*/ 863970 h 1017564"/>
                    <a:gd name="connsiteX184" fmla="*/ 811859 w 1020309"/>
                    <a:gd name="connsiteY184" fmla="*/ 811858 h 1017564"/>
                    <a:gd name="connsiteX185" fmla="*/ 724091 w 1020309"/>
                    <a:gd name="connsiteY185" fmla="*/ 863970 h 1017564"/>
                    <a:gd name="connsiteX186" fmla="*/ 641808 w 1020309"/>
                    <a:gd name="connsiteY186" fmla="*/ 863970 h 1017564"/>
                    <a:gd name="connsiteX187" fmla="*/ 641808 w 1020309"/>
                    <a:gd name="connsiteY187" fmla="*/ 559524 h 1017564"/>
                    <a:gd name="connsiteX188" fmla="*/ 674721 w 1020309"/>
                    <a:gd name="connsiteY188" fmla="*/ 559524 h 1017564"/>
                    <a:gd name="connsiteX189" fmla="*/ 674721 w 1020309"/>
                    <a:gd name="connsiteY189" fmla="*/ 661006 h 1017564"/>
                    <a:gd name="connsiteX190" fmla="*/ 726833 w 1020309"/>
                    <a:gd name="connsiteY190" fmla="*/ 713118 h 1017564"/>
                    <a:gd name="connsiteX191" fmla="*/ 896885 w 1020309"/>
                    <a:gd name="connsiteY191" fmla="*/ 713118 h 1017564"/>
                    <a:gd name="connsiteX192" fmla="*/ 981911 w 1020309"/>
                    <a:gd name="connsiteY192" fmla="*/ 798144 h 1017564"/>
                    <a:gd name="connsiteX193" fmla="*/ 981911 w 1020309"/>
                    <a:gd name="connsiteY193" fmla="*/ 863970 h 101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1020309" h="1017564">
                      <a:moveTo>
                        <a:pt x="896885" y="677462"/>
                      </a:moveTo>
                      <a:lnTo>
                        <a:pt x="874943" y="677462"/>
                      </a:lnTo>
                      <a:lnTo>
                        <a:pt x="839287" y="595179"/>
                      </a:lnTo>
                      <a:cubicBezTo>
                        <a:pt x="820088" y="551295"/>
                        <a:pt x="778946" y="523868"/>
                        <a:pt x="729576" y="523868"/>
                      </a:cubicBezTo>
                      <a:lnTo>
                        <a:pt x="641808" y="523868"/>
                      </a:lnTo>
                      <a:lnTo>
                        <a:pt x="641808" y="337360"/>
                      </a:lnTo>
                      <a:cubicBezTo>
                        <a:pt x="641808" y="329131"/>
                        <a:pt x="633579" y="320903"/>
                        <a:pt x="625351" y="320903"/>
                      </a:cubicBezTo>
                      <a:lnTo>
                        <a:pt x="534840" y="320903"/>
                      </a:lnTo>
                      <a:cubicBezTo>
                        <a:pt x="501927" y="271534"/>
                        <a:pt x="455300" y="233135"/>
                        <a:pt x="397701" y="213936"/>
                      </a:cubicBezTo>
                      <a:cubicBezTo>
                        <a:pt x="419644" y="181022"/>
                        <a:pt x="438843" y="145366"/>
                        <a:pt x="438843" y="117939"/>
                      </a:cubicBezTo>
                      <a:cubicBezTo>
                        <a:pt x="438843" y="52113"/>
                        <a:pt x="386730" y="0"/>
                        <a:pt x="320904" y="0"/>
                      </a:cubicBezTo>
                      <a:cubicBezTo>
                        <a:pt x="255077" y="0"/>
                        <a:pt x="202965" y="52113"/>
                        <a:pt x="202965" y="117939"/>
                      </a:cubicBezTo>
                      <a:cubicBezTo>
                        <a:pt x="202965" y="145366"/>
                        <a:pt x="222164" y="181022"/>
                        <a:pt x="244107" y="213936"/>
                      </a:cubicBezTo>
                      <a:cubicBezTo>
                        <a:pt x="186508" y="233135"/>
                        <a:pt x="139881" y="268791"/>
                        <a:pt x="106968" y="320903"/>
                      </a:cubicBezTo>
                      <a:lnTo>
                        <a:pt x="16457" y="320903"/>
                      </a:lnTo>
                      <a:cubicBezTo>
                        <a:pt x="8228" y="320903"/>
                        <a:pt x="0" y="329131"/>
                        <a:pt x="0" y="337360"/>
                      </a:cubicBezTo>
                      <a:lnTo>
                        <a:pt x="0" y="880427"/>
                      </a:lnTo>
                      <a:cubicBezTo>
                        <a:pt x="0" y="888655"/>
                        <a:pt x="8228" y="896883"/>
                        <a:pt x="16457" y="896883"/>
                      </a:cubicBezTo>
                      <a:lnTo>
                        <a:pt x="32913" y="896883"/>
                      </a:lnTo>
                      <a:lnTo>
                        <a:pt x="32913" y="913340"/>
                      </a:lnTo>
                      <a:cubicBezTo>
                        <a:pt x="32913" y="940768"/>
                        <a:pt x="54855" y="965452"/>
                        <a:pt x="85026" y="965452"/>
                      </a:cubicBezTo>
                      <a:lnTo>
                        <a:pt x="183765" y="965452"/>
                      </a:lnTo>
                      <a:cubicBezTo>
                        <a:pt x="202965" y="995623"/>
                        <a:pt x="235878" y="1017565"/>
                        <a:pt x="271534" y="1017565"/>
                      </a:cubicBezTo>
                      <a:cubicBezTo>
                        <a:pt x="307190" y="1017565"/>
                        <a:pt x="340103" y="998366"/>
                        <a:pt x="359303" y="965452"/>
                      </a:cubicBezTo>
                      <a:lnTo>
                        <a:pt x="726833" y="965452"/>
                      </a:lnTo>
                      <a:cubicBezTo>
                        <a:pt x="746033" y="995623"/>
                        <a:pt x="778946" y="1017565"/>
                        <a:pt x="814602" y="1017565"/>
                      </a:cubicBezTo>
                      <a:cubicBezTo>
                        <a:pt x="850258" y="1017565"/>
                        <a:pt x="883171" y="998366"/>
                        <a:pt x="902371" y="965452"/>
                      </a:cubicBezTo>
                      <a:lnTo>
                        <a:pt x="968197" y="965452"/>
                      </a:lnTo>
                      <a:cubicBezTo>
                        <a:pt x="995625" y="965452"/>
                        <a:pt x="1020309" y="943510"/>
                        <a:pt x="1020309" y="913340"/>
                      </a:cubicBezTo>
                      <a:lnTo>
                        <a:pt x="1020309" y="795401"/>
                      </a:lnTo>
                      <a:cubicBezTo>
                        <a:pt x="1017567" y="729575"/>
                        <a:pt x="962712" y="677462"/>
                        <a:pt x="896885" y="677462"/>
                      </a:cubicBezTo>
                      <a:lnTo>
                        <a:pt x="896885" y="677462"/>
                      </a:lnTo>
                      <a:close/>
                      <a:moveTo>
                        <a:pt x="710377" y="559524"/>
                      </a:moveTo>
                      <a:lnTo>
                        <a:pt x="729576" y="559524"/>
                      </a:lnTo>
                      <a:cubicBezTo>
                        <a:pt x="762489" y="559524"/>
                        <a:pt x="792660" y="578723"/>
                        <a:pt x="806374" y="608893"/>
                      </a:cubicBezTo>
                      <a:lnTo>
                        <a:pt x="836544" y="677462"/>
                      </a:lnTo>
                      <a:lnTo>
                        <a:pt x="726833" y="677462"/>
                      </a:lnTo>
                      <a:cubicBezTo>
                        <a:pt x="718605" y="677462"/>
                        <a:pt x="710377" y="669234"/>
                        <a:pt x="710377" y="661006"/>
                      </a:cubicBezTo>
                      <a:lnTo>
                        <a:pt x="710377" y="559524"/>
                      </a:lnTo>
                      <a:close/>
                      <a:moveTo>
                        <a:pt x="540325" y="438842"/>
                      </a:moveTo>
                      <a:lnTo>
                        <a:pt x="455300" y="438842"/>
                      </a:lnTo>
                      <a:cubicBezTo>
                        <a:pt x="455300" y="411414"/>
                        <a:pt x="449814" y="381244"/>
                        <a:pt x="444328" y="353816"/>
                      </a:cubicBezTo>
                      <a:lnTo>
                        <a:pt x="515640" y="353816"/>
                      </a:lnTo>
                      <a:cubicBezTo>
                        <a:pt x="532097" y="381244"/>
                        <a:pt x="540325" y="408672"/>
                        <a:pt x="540325" y="438842"/>
                      </a:cubicBezTo>
                      <a:lnTo>
                        <a:pt x="540325" y="438842"/>
                      </a:lnTo>
                      <a:close/>
                      <a:moveTo>
                        <a:pt x="340103" y="559524"/>
                      </a:moveTo>
                      <a:lnTo>
                        <a:pt x="340103" y="474498"/>
                      </a:lnTo>
                      <a:lnTo>
                        <a:pt x="425129" y="474498"/>
                      </a:lnTo>
                      <a:cubicBezTo>
                        <a:pt x="425129" y="501926"/>
                        <a:pt x="419644" y="532096"/>
                        <a:pt x="414158" y="559524"/>
                      </a:cubicBezTo>
                      <a:lnTo>
                        <a:pt x="340103" y="559524"/>
                      </a:lnTo>
                      <a:close/>
                      <a:moveTo>
                        <a:pt x="400444" y="592437"/>
                      </a:moveTo>
                      <a:cubicBezTo>
                        <a:pt x="383987" y="636321"/>
                        <a:pt x="362045" y="663748"/>
                        <a:pt x="337360" y="674719"/>
                      </a:cubicBezTo>
                      <a:lnTo>
                        <a:pt x="337360" y="592437"/>
                      </a:lnTo>
                      <a:lnTo>
                        <a:pt x="400444" y="592437"/>
                      </a:lnTo>
                      <a:close/>
                      <a:moveTo>
                        <a:pt x="340103" y="438842"/>
                      </a:moveTo>
                      <a:lnTo>
                        <a:pt x="340103" y="353816"/>
                      </a:lnTo>
                      <a:lnTo>
                        <a:pt x="414158" y="353816"/>
                      </a:lnTo>
                      <a:cubicBezTo>
                        <a:pt x="419644" y="381244"/>
                        <a:pt x="425129" y="408672"/>
                        <a:pt x="425129" y="438842"/>
                      </a:cubicBezTo>
                      <a:lnTo>
                        <a:pt x="340103" y="438842"/>
                      </a:lnTo>
                      <a:close/>
                      <a:moveTo>
                        <a:pt x="436100" y="592437"/>
                      </a:moveTo>
                      <a:lnTo>
                        <a:pt x="493698" y="592437"/>
                      </a:lnTo>
                      <a:cubicBezTo>
                        <a:pt x="469013" y="622607"/>
                        <a:pt x="438843" y="647292"/>
                        <a:pt x="400444" y="661006"/>
                      </a:cubicBezTo>
                      <a:cubicBezTo>
                        <a:pt x="416901" y="639064"/>
                        <a:pt x="427872" y="617122"/>
                        <a:pt x="436100" y="592437"/>
                      </a:cubicBezTo>
                      <a:lnTo>
                        <a:pt x="436100" y="592437"/>
                      </a:lnTo>
                      <a:close/>
                      <a:moveTo>
                        <a:pt x="447071" y="559524"/>
                      </a:moveTo>
                      <a:cubicBezTo>
                        <a:pt x="452557" y="532096"/>
                        <a:pt x="458042" y="501926"/>
                        <a:pt x="458042" y="474498"/>
                      </a:cubicBezTo>
                      <a:lnTo>
                        <a:pt x="543068" y="474498"/>
                      </a:lnTo>
                      <a:cubicBezTo>
                        <a:pt x="540325" y="504668"/>
                        <a:pt x="532097" y="532096"/>
                        <a:pt x="518383" y="559524"/>
                      </a:cubicBezTo>
                      <a:lnTo>
                        <a:pt x="447071" y="559524"/>
                      </a:lnTo>
                      <a:close/>
                      <a:moveTo>
                        <a:pt x="496441" y="320903"/>
                      </a:moveTo>
                      <a:lnTo>
                        <a:pt x="438843" y="320903"/>
                      </a:lnTo>
                      <a:cubicBezTo>
                        <a:pt x="430614" y="296218"/>
                        <a:pt x="419644" y="274276"/>
                        <a:pt x="405930" y="252334"/>
                      </a:cubicBezTo>
                      <a:cubicBezTo>
                        <a:pt x="438843" y="266048"/>
                        <a:pt x="471756" y="290733"/>
                        <a:pt x="496441" y="320903"/>
                      </a:cubicBezTo>
                      <a:lnTo>
                        <a:pt x="496441" y="320903"/>
                      </a:lnTo>
                      <a:close/>
                      <a:moveTo>
                        <a:pt x="400444" y="320903"/>
                      </a:moveTo>
                      <a:lnTo>
                        <a:pt x="337360" y="320903"/>
                      </a:lnTo>
                      <a:lnTo>
                        <a:pt x="337360" y="293475"/>
                      </a:lnTo>
                      <a:cubicBezTo>
                        <a:pt x="342846" y="287990"/>
                        <a:pt x="353817" y="274276"/>
                        <a:pt x="364788" y="260562"/>
                      </a:cubicBezTo>
                      <a:cubicBezTo>
                        <a:pt x="381245" y="277019"/>
                        <a:pt x="394959" y="298961"/>
                        <a:pt x="400444" y="320903"/>
                      </a:cubicBezTo>
                      <a:lnTo>
                        <a:pt x="400444" y="320903"/>
                      </a:lnTo>
                      <a:close/>
                      <a:moveTo>
                        <a:pt x="235878" y="117939"/>
                      </a:moveTo>
                      <a:cubicBezTo>
                        <a:pt x="235878" y="71312"/>
                        <a:pt x="274277" y="32913"/>
                        <a:pt x="320904" y="32913"/>
                      </a:cubicBezTo>
                      <a:cubicBezTo>
                        <a:pt x="367531" y="32913"/>
                        <a:pt x="405930" y="71312"/>
                        <a:pt x="405930" y="117939"/>
                      </a:cubicBezTo>
                      <a:cubicBezTo>
                        <a:pt x="405930" y="139881"/>
                        <a:pt x="383987" y="178280"/>
                        <a:pt x="356560" y="213936"/>
                      </a:cubicBezTo>
                      <a:cubicBezTo>
                        <a:pt x="356560" y="213936"/>
                        <a:pt x="356560" y="213936"/>
                        <a:pt x="356560" y="213936"/>
                      </a:cubicBezTo>
                      <a:cubicBezTo>
                        <a:pt x="345589" y="230392"/>
                        <a:pt x="331875" y="246849"/>
                        <a:pt x="320904" y="260562"/>
                      </a:cubicBezTo>
                      <a:cubicBezTo>
                        <a:pt x="309933" y="246849"/>
                        <a:pt x="296219" y="230392"/>
                        <a:pt x="285248" y="213936"/>
                      </a:cubicBezTo>
                      <a:cubicBezTo>
                        <a:pt x="285248" y="213936"/>
                        <a:pt x="285248" y="213936"/>
                        <a:pt x="285248" y="213936"/>
                      </a:cubicBezTo>
                      <a:cubicBezTo>
                        <a:pt x="260563" y="178280"/>
                        <a:pt x="235878" y="139881"/>
                        <a:pt x="235878" y="117939"/>
                      </a:cubicBezTo>
                      <a:lnTo>
                        <a:pt x="235878" y="117939"/>
                      </a:lnTo>
                      <a:close/>
                      <a:moveTo>
                        <a:pt x="277020" y="260562"/>
                      </a:moveTo>
                      <a:cubicBezTo>
                        <a:pt x="287991" y="274276"/>
                        <a:pt x="298962" y="287990"/>
                        <a:pt x="304447" y="293475"/>
                      </a:cubicBezTo>
                      <a:lnTo>
                        <a:pt x="304447" y="320903"/>
                      </a:lnTo>
                      <a:lnTo>
                        <a:pt x="241364" y="320903"/>
                      </a:lnTo>
                      <a:cubicBezTo>
                        <a:pt x="249592" y="298961"/>
                        <a:pt x="260563" y="277019"/>
                        <a:pt x="277020" y="260562"/>
                      </a:cubicBezTo>
                      <a:lnTo>
                        <a:pt x="277020" y="260562"/>
                      </a:lnTo>
                      <a:close/>
                      <a:moveTo>
                        <a:pt x="233135" y="559524"/>
                      </a:moveTo>
                      <a:cubicBezTo>
                        <a:pt x="227650" y="532096"/>
                        <a:pt x="222164" y="504668"/>
                        <a:pt x="222164" y="474498"/>
                      </a:cubicBezTo>
                      <a:lnTo>
                        <a:pt x="307190" y="474498"/>
                      </a:lnTo>
                      <a:lnTo>
                        <a:pt x="307190" y="559524"/>
                      </a:lnTo>
                      <a:lnTo>
                        <a:pt x="233135" y="559524"/>
                      </a:lnTo>
                      <a:close/>
                      <a:moveTo>
                        <a:pt x="304447" y="592437"/>
                      </a:moveTo>
                      <a:lnTo>
                        <a:pt x="304447" y="674719"/>
                      </a:lnTo>
                      <a:cubicBezTo>
                        <a:pt x="279762" y="666491"/>
                        <a:pt x="257820" y="636321"/>
                        <a:pt x="241364" y="592437"/>
                      </a:cubicBezTo>
                      <a:lnTo>
                        <a:pt x="304447" y="592437"/>
                      </a:lnTo>
                      <a:close/>
                      <a:moveTo>
                        <a:pt x="205708" y="592437"/>
                      </a:moveTo>
                      <a:cubicBezTo>
                        <a:pt x="213936" y="617122"/>
                        <a:pt x="224907" y="639064"/>
                        <a:pt x="238621" y="661006"/>
                      </a:cubicBezTo>
                      <a:cubicBezTo>
                        <a:pt x="202965" y="647292"/>
                        <a:pt x="170051" y="622607"/>
                        <a:pt x="145367" y="592437"/>
                      </a:cubicBezTo>
                      <a:lnTo>
                        <a:pt x="205708" y="592437"/>
                      </a:lnTo>
                      <a:close/>
                      <a:moveTo>
                        <a:pt x="126167" y="559524"/>
                      </a:moveTo>
                      <a:cubicBezTo>
                        <a:pt x="112454" y="532096"/>
                        <a:pt x="104225" y="504668"/>
                        <a:pt x="101482" y="474498"/>
                      </a:cubicBezTo>
                      <a:lnTo>
                        <a:pt x="186508" y="474498"/>
                      </a:lnTo>
                      <a:cubicBezTo>
                        <a:pt x="186508" y="501926"/>
                        <a:pt x="191994" y="532096"/>
                        <a:pt x="197479" y="559524"/>
                      </a:cubicBezTo>
                      <a:lnTo>
                        <a:pt x="126167" y="559524"/>
                      </a:lnTo>
                      <a:close/>
                      <a:moveTo>
                        <a:pt x="219421" y="438842"/>
                      </a:moveTo>
                      <a:cubicBezTo>
                        <a:pt x="219421" y="411414"/>
                        <a:pt x="224907" y="381244"/>
                        <a:pt x="230393" y="353816"/>
                      </a:cubicBezTo>
                      <a:lnTo>
                        <a:pt x="304447" y="353816"/>
                      </a:lnTo>
                      <a:lnTo>
                        <a:pt x="304447" y="438842"/>
                      </a:lnTo>
                      <a:lnTo>
                        <a:pt x="219421" y="438842"/>
                      </a:lnTo>
                      <a:close/>
                      <a:moveTo>
                        <a:pt x="241364" y="252334"/>
                      </a:moveTo>
                      <a:cubicBezTo>
                        <a:pt x="227650" y="274276"/>
                        <a:pt x="213936" y="296218"/>
                        <a:pt x="208450" y="320903"/>
                      </a:cubicBezTo>
                      <a:lnTo>
                        <a:pt x="150852" y="320903"/>
                      </a:lnTo>
                      <a:cubicBezTo>
                        <a:pt x="172794" y="290733"/>
                        <a:pt x="202965" y="266048"/>
                        <a:pt x="241364" y="252334"/>
                      </a:cubicBezTo>
                      <a:lnTo>
                        <a:pt x="241364" y="252334"/>
                      </a:lnTo>
                      <a:close/>
                      <a:moveTo>
                        <a:pt x="126167" y="353816"/>
                      </a:moveTo>
                      <a:lnTo>
                        <a:pt x="197479" y="353816"/>
                      </a:lnTo>
                      <a:cubicBezTo>
                        <a:pt x="191994" y="381244"/>
                        <a:pt x="186508" y="411414"/>
                        <a:pt x="186508" y="438842"/>
                      </a:cubicBezTo>
                      <a:lnTo>
                        <a:pt x="101482" y="438842"/>
                      </a:lnTo>
                      <a:cubicBezTo>
                        <a:pt x="104225" y="408672"/>
                        <a:pt x="112454" y="381244"/>
                        <a:pt x="126167" y="353816"/>
                      </a:cubicBezTo>
                      <a:lnTo>
                        <a:pt x="126167" y="353816"/>
                      </a:lnTo>
                      <a:close/>
                      <a:moveTo>
                        <a:pt x="32913" y="353816"/>
                      </a:moveTo>
                      <a:lnTo>
                        <a:pt x="87768" y="353816"/>
                      </a:lnTo>
                      <a:cubicBezTo>
                        <a:pt x="74055" y="386729"/>
                        <a:pt x="65827" y="419643"/>
                        <a:pt x="65827" y="455298"/>
                      </a:cubicBezTo>
                      <a:cubicBezTo>
                        <a:pt x="65827" y="595179"/>
                        <a:pt x="181023" y="710375"/>
                        <a:pt x="320904" y="710375"/>
                      </a:cubicBezTo>
                      <a:cubicBezTo>
                        <a:pt x="460785" y="710375"/>
                        <a:pt x="575981" y="595179"/>
                        <a:pt x="575981" y="455298"/>
                      </a:cubicBezTo>
                      <a:cubicBezTo>
                        <a:pt x="575981" y="419643"/>
                        <a:pt x="567753" y="386729"/>
                        <a:pt x="554039" y="353816"/>
                      </a:cubicBezTo>
                      <a:lnTo>
                        <a:pt x="608894" y="353816"/>
                      </a:lnTo>
                      <a:lnTo>
                        <a:pt x="608894" y="743289"/>
                      </a:lnTo>
                      <a:lnTo>
                        <a:pt x="32913" y="743289"/>
                      </a:lnTo>
                      <a:lnTo>
                        <a:pt x="32913" y="353816"/>
                      </a:lnTo>
                      <a:close/>
                      <a:moveTo>
                        <a:pt x="170051" y="932539"/>
                      </a:moveTo>
                      <a:lnTo>
                        <a:pt x="85026" y="932539"/>
                      </a:lnTo>
                      <a:cubicBezTo>
                        <a:pt x="76798" y="932539"/>
                        <a:pt x="68569" y="924311"/>
                        <a:pt x="68569" y="916083"/>
                      </a:cubicBezTo>
                      <a:lnTo>
                        <a:pt x="68569" y="899626"/>
                      </a:lnTo>
                      <a:lnTo>
                        <a:pt x="172794" y="899626"/>
                      </a:lnTo>
                      <a:cubicBezTo>
                        <a:pt x="170051" y="907854"/>
                        <a:pt x="170051" y="918825"/>
                        <a:pt x="170051" y="932539"/>
                      </a:cubicBezTo>
                      <a:lnTo>
                        <a:pt x="170051" y="932539"/>
                      </a:lnTo>
                      <a:close/>
                      <a:moveTo>
                        <a:pt x="271534" y="981909"/>
                      </a:moveTo>
                      <a:cubicBezTo>
                        <a:pt x="244107" y="981909"/>
                        <a:pt x="219421" y="965452"/>
                        <a:pt x="208450" y="940768"/>
                      </a:cubicBezTo>
                      <a:cubicBezTo>
                        <a:pt x="197479" y="916083"/>
                        <a:pt x="202965" y="885912"/>
                        <a:pt x="222164" y="866713"/>
                      </a:cubicBezTo>
                      <a:cubicBezTo>
                        <a:pt x="241364" y="847514"/>
                        <a:pt x="271534" y="842028"/>
                        <a:pt x="296219" y="852999"/>
                      </a:cubicBezTo>
                      <a:cubicBezTo>
                        <a:pt x="320904" y="863970"/>
                        <a:pt x="337360" y="888655"/>
                        <a:pt x="337360" y="916083"/>
                      </a:cubicBezTo>
                      <a:cubicBezTo>
                        <a:pt x="340103" y="951738"/>
                        <a:pt x="307190" y="981909"/>
                        <a:pt x="271534" y="981909"/>
                      </a:cubicBezTo>
                      <a:lnTo>
                        <a:pt x="271534" y="981909"/>
                      </a:lnTo>
                      <a:close/>
                      <a:moveTo>
                        <a:pt x="271534" y="811858"/>
                      </a:moveTo>
                      <a:cubicBezTo>
                        <a:pt x="235878" y="811858"/>
                        <a:pt x="202965" y="831057"/>
                        <a:pt x="183765" y="863970"/>
                      </a:cubicBezTo>
                      <a:lnTo>
                        <a:pt x="35656" y="863970"/>
                      </a:lnTo>
                      <a:lnTo>
                        <a:pt x="35656" y="778945"/>
                      </a:lnTo>
                      <a:lnTo>
                        <a:pt x="611637" y="778945"/>
                      </a:lnTo>
                      <a:lnTo>
                        <a:pt x="611637" y="863970"/>
                      </a:lnTo>
                      <a:lnTo>
                        <a:pt x="359303" y="863970"/>
                      </a:lnTo>
                      <a:cubicBezTo>
                        <a:pt x="340103" y="831057"/>
                        <a:pt x="307190" y="811858"/>
                        <a:pt x="271534" y="811858"/>
                      </a:cubicBezTo>
                      <a:lnTo>
                        <a:pt x="271534" y="811858"/>
                      </a:lnTo>
                      <a:close/>
                      <a:moveTo>
                        <a:pt x="713120" y="932539"/>
                      </a:moveTo>
                      <a:lnTo>
                        <a:pt x="370274" y="932539"/>
                      </a:lnTo>
                      <a:cubicBezTo>
                        <a:pt x="373017" y="921568"/>
                        <a:pt x="373017" y="910597"/>
                        <a:pt x="370274" y="899626"/>
                      </a:cubicBezTo>
                      <a:lnTo>
                        <a:pt x="713120" y="899626"/>
                      </a:lnTo>
                      <a:cubicBezTo>
                        <a:pt x="710377" y="907854"/>
                        <a:pt x="710377" y="918825"/>
                        <a:pt x="713120" y="932539"/>
                      </a:cubicBezTo>
                      <a:lnTo>
                        <a:pt x="713120" y="932539"/>
                      </a:lnTo>
                      <a:close/>
                      <a:moveTo>
                        <a:pt x="814602" y="981909"/>
                      </a:moveTo>
                      <a:cubicBezTo>
                        <a:pt x="787174" y="981909"/>
                        <a:pt x="762489" y="965452"/>
                        <a:pt x="751519" y="940768"/>
                      </a:cubicBezTo>
                      <a:cubicBezTo>
                        <a:pt x="740547" y="916083"/>
                        <a:pt x="746033" y="885912"/>
                        <a:pt x="765232" y="866713"/>
                      </a:cubicBezTo>
                      <a:cubicBezTo>
                        <a:pt x="784432" y="847514"/>
                        <a:pt x="814602" y="842028"/>
                        <a:pt x="839287" y="852999"/>
                      </a:cubicBezTo>
                      <a:cubicBezTo>
                        <a:pt x="863972" y="863970"/>
                        <a:pt x="880429" y="888655"/>
                        <a:pt x="880429" y="916083"/>
                      </a:cubicBezTo>
                      <a:cubicBezTo>
                        <a:pt x="880429" y="951738"/>
                        <a:pt x="850258" y="981909"/>
                        <a:pt x="814602" y="981909"/>
                      </a:cubicBezTo>
                      <a:lnTo>
                        <a:pt x="814602" y="981909"/>
                      </a:lnTo>
                      <a:close/>
                      <a:moveTo>
                        <a:pt x="981911" y="913340"/>
                      </a:moveTo>
                      <a:cubicBezTo>
                        <a:pt x="981911" y="921568"/>
                        <a:pt x="973682" y="929796"/>
                        <a:pt x="965454" y="929796"/>
                      </a:cubicBezTo>
                      <a:lnTo>
                        <a:pt x="913342" y="929796"/>
                      </a:lnTo>
                      <a:cubicBezTo>
                        <a:pt x="916085" y="918825"/>
                        <a:pt x="916085" y="907854"/>
                        <a:pt x="913342" y="896883"/>
                      </a:cubicBezTo>
                      <a:lnTo>
                        <a:pt x="981911" y="896883"/>
                      </a:lnTo>
                      <a:lnTo>
                        <a:pt x="981911" y="913340"/>
                      </a:lnTo>
                      <a:close/>
                      <a:moveTo>
                        <a:pt x="981911" y="863970"/>
                      </a:moveTo>
                      <a:lnTo>
                        <a:pt x="899628" y="863970"/>
                      </a:lnTo>
                      <a:cubicBezTo>
                        <a:pt x="880429" y="833800"/>
                        <a:pt x="847515" y="811858"/>
                        <a:pt x="811859" y="811858"/>
                      </a:cubicBezTo>
                      <a:cubicBezTo>
                        <a:pt x="776203" y="811858"/>
                        <a:pt x="743290" y="831057"/>
                        <a:pt x="724091" y="863970"/>
                      </a:cubicBezTo>
                      <a:lnTo>
                        <a:pt x="641808" y="863970"/>
                      </a:lnTo>
                      <a:lnTo>
                        <a:pt x="641808" y="559524"/>
                      </a:lnTo>
                      <a:lnTo>
                        <a:pt x="674721" y="559524"/>
                      </a:lnTo>
                      <a:lnTo>
                        <a:pt x="674721" y="661006"/>
                      </a:lnTo>
                      <a:cubicBezTo>
                        <a:pt x="674721" y="688433"/>
                        <a:pt x="696663" y="713118"/>
                        <a:pt x="726833" y="713118"/>
                      </a:cubicBezTo>
                      <a:lnTo>
                        <a:pt x="896885" y="713118"/>
                      </a:lnTo>
                      <a:cubicBezTo>
                        <a:pt x="943512" y="713118"/>
                        <a:pt x="981911" y="751517"/>
                        <a:pt x="981911" y="798144"/>
                      </a:cubicBezTo>
                      <a:lnTo>
                        <a:pt x="981911" y="863970"/>
                      </a:lnTo>
                      <a:close/>
                    </a:path>
                  </a:pathLst>
                </a:custGeom>
                <a:grp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8EB0339C-48B6-C6CA-047F-5601A86D014E}"/>
                    </a:ext>
                  </a:extLst>
                </p:cNvPr>
                <p:cNvSpPr/>
                <p:nvPr/>
              </p:nvSpPr>
              <p:spPr>
                <a:xfrm>
                  <a:off x="3201928" y="1098891"/>
                  <a:ext cx="66358" cy="32913"/>
                </a:xfrm>
                <a:custGeom>
                  <a:avLst/>
                  <a:gdLst>
                    <a:gd name="connsiteX0" fmla="*/ 16988 w 66358"/>
                    <a:gd name="connsiteY0" fmla="*/ 32913 h 32913"/>
                    <a:gd name="connsiteX1" fmla="*/ 49901 w 66358"/>
                    <a:gd name="connsiteY1" fmla="*/ 32913 h 32913"/>
                    <a:gd name="connsiteX2" fmla="*/ 66358 w 66358"/>
                    <a:gd name="connsiteY2" fmla="*/ 16457 h 32913"/>
                    <a:gd name="connsiteX3" fmla="*/ 49901 w 66358"/>
                    <a:gd name="connsiteY3" fmla="*/ 0 h 32913"/>
                    <a:gd name="connsiteX4" fmla="*/ 16988 w 66358"/>
                    <a:gd name="connsiteY4" fmla="*/ 0 h 32913"/>
                    <a:gd name="connsiteX5" fmla="*/ 532 w 66358"/>
                    <a:gd name="connsiteY5" fmla="*/ 16457 h 32913"/>
                    <a:gd name="connsiteX6" fmla="*/ 16988 w 66358"/>
                    <a:gd name="connsiteY6" fmla="*/ 32913 h 32913"/>
                    <a:gd name="connsiteX7" fmla="*/ 16988 w 66358"/>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58" h="32913">
                      <a:moveTo>
                        <a:pt x="16988" y="32913"/>
                      </a:moveTo>
                      <a:lnTo>
                        <a:pt x="49901" y="32913"/>
                      </a:lnTo>
                      <a:cubicBezTo>
                        <a:pt x="58130" y="32913"/>
                        <a:pt x="66358" y="24685"/>
                        <a:pt x="66358" y="16457"/>
                      </a:cubicBezTo>
                      <a:cubicBezTo>
                        <a:pt x="66358" y="8228"/>
                        <a:pt x="58130" y="0"/>
                        <a:pt x="49901" y="0"/>
                      </a:cubicBezTo>
                      <a:lnTo>
                        <a:pt x="16988" y="0"/>
                      </a:lnTo>
                      <a:cubicBezTo>
                        <a:pt x="8760" y="0"/>
                        <a:pt x="532" y="8228"/>
                        <a:pt x="532" y="16457"/>
                      </a:cubicBezTo>
                      <a:cubicBezTo>
                        <a:pt x="-2211" y="24685"/>
                        <a:pt x="6017" y="32913"/>
                        <a:pt x="16988" y="32913"/>
                      </a:cubicBezTo>
                      <a:lnTo>
                        <a:pt x="16988" y="32913"/>
                      </a:lnTo>
                      <a:close/>
                    </a:path>
                  </a:pathLst>
                </a:custGeom>
                <a:grpFill/>
                <a:ln w="27426" cap="flat">
                  <a:noFill/>
                  <a:prstDash val="solid"/>
                  <a:miter/>
                </a:ln>
              </p:spPr>
              <p:txBody>
                <a:bodyPr rtlCol="0" anchor="ctr"/>
                <a:lstStyle/>
                <a:p>
                  <a:endParaRPr lang="en-US"/>
                </a:p>
              </p:txBody>
            </p:sp>
          </p:grpSp>
          <p:sp>
            <p:nvSpPr>
              <p:cNvPr id="73" name="Freeform 72">
                <a:extLst>
                  <a:ext uri="{FF2B5EF4-FFF2-40B4-BE49-F238E27FC236}">
                    <a16:creationId xmlns:a16="http://schemas.microsoft.com/office/drawing/2014/main" id="{ED4CB98D-65CE-AA40-9F58-B3EC258972E7}"/>
                  </a:ext>
                </a:extLst>
              </p:cNvPr>
              <p:cNvSpPr/>
              <p:nvPr/>
            </p:nvSpPr>
            <p:spPr>
              <a:xfrm>
                <a:off x="2760874" y="436762"/>
                <a:ext cx="99862" cy="99862"/>
              </a:xfrm>
              <a:custGeom>
                <a:avLst/>
                <a:gdLst>
                  <a:gd name="connsiteX0" fmla="*/ 49369 w 99862"/>
                  <a:gd name="connsiteY0" fmla="*/ 99863 h 99862"/>
                  <a:gd name="connsiteX1" fmla="*/ 95997 w 99862"/>
                  <a:gd name="connsiteY1" fmla="*/ 69692 h 99862"/>
                  <a:gd name="connsiteX2" fmla="*/ 85026 w 99862"/>
                  <a:gd name="connsiteY2" fmla="*/ 14837 h 99862"/>
                  <a:gd name="connsiteX3" fmla="*/ 30170 w 99862"/>
                  <a:gd name="connsiteY3" fmla="*/ 3866 h 99862"/>
                  <a:gd name="connsiteX4" fmla="*/ 0 w 99862"/>
                  <a:gd name="connsiteY4" fmla="*/ 50493 h 99862"/>
                  <a:gd name="connsiteX5" fmla="*/ 49369 w 99862"/>
                  <a:gd name="connsiteY5" fmla="*/ 99863 h 99862"/>
                  <a:gd name="connsiteX6" fmla="*/ 49369 w 99862"/>
                  <a:gd name="connsiteY6" fmla="*/ 99863 h 99862"/>
                  <a:gd name="connsiteX7" fmla="*/ 49369 w 99862"/>
                  <a:gd name="connsiteY7" fmla="*/ 34036 h 99862"/>
                  <a:gd name="connsiteX8" fmla="*/ 65826 w 99862"/>
                  <a:gd name="connsiteY8" fmla="*/ 45007 h 99862"/>
                  <a:gd name="connsiteX9" fmla="*/ 63083 w 99862"/>
                  <a:gd name="connsiteY9" fmla="*/ 64207 h 99862"/>
                  <a:gd name="connsiteX10" fmla="*/ 43884 w 99862"/>
                  <a:gd name="connsiteY10" fmla="*/ 66950 h 99862"/>
                  <a:gd name="connsiteX11" fmla="*/ 32913 w 99862"/>
                  <a:gd name="connsiteY11" fmla="*/ 50493 h 99862"/>
                  <a:gd name="connsiteX12" fmla="*/ 49369 w 99862"/>
                  <a:gd name="connsiteY12" fmla="*/ 34036 h 99862"/>
                  <a:gd name="connsiteX13" fmla="*/ 49369 w 99862"/>
                  <a:gd name="connsiteY13" fmla="*/ 34036 h 9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62" h="99862">
                    <a:moveTo>
                      <a:pt x="49369" y="99863"/>
                    </a:moveTo>
                    <a:cubicBezTo>
                      <a:pt x="68569" y="99863"/>
                      <a:pt x="87768" y="86149"/>
                      <a:pt x="95997" y="69692"/>
                    </a:cubicBezTo>
                    <a:cubicBezTo>
                      <a:pt x="104225" y="50493"/>
                      <a:pt x="98739" y="28551"/>
                      <a:pt x="85026" y="14837"/>
                    </a:cubicBezTo>
                    <a:cubicBezTo>
                      <a:pt x="71312" y="1123"/>
                      <a:pt x="49369" y="-4362"/>
                      <a:pt x="30170" y="3866"/>
                    </a:cubicBezTo>
                    <a:cubicBezTo>
                      <a:pt x="10971" y="12094"/>
                      <a:pt x="0" y="31294"/>
                      <a:pt x="0" y="50493"/>
                    </a:cubicBezTo>
                    <a:cubicBezTo>
                      <a:pt x="0" y="77921"/>
                      <a:pt x="21942" y="99863"/>
                      <a:pt x="49369" y="99863"/>
                    </a:cubicBezTo>
                    <a:lnTo>
                      <a:pt x="49369" y="99863"/>
                    </a:lnTo>
                    <a:close/>
                    <a:moveTo>
                      <a:pt x="49369" y="34036"/>
                    </a:moveTo>
                    <a:cubicBezTo>
                      <a:pt x="54855" y="34036"/>
                      <a:pt x="63083" y="39522"/>
                      <a:pt x="65826" y="45007"/>
                    </a:cubicBezTo>
                    <a:cubicBezTo>
                      <a:pt x="68569" y="50493"/>
                      <a:pt x="65826" y="58721"/>
                      <a:pt x="63083" y="64207"/>
                    </a:cubicBezTo>
                    <a:cubicBezTo>
                      <a:pt x="57598" y="69692"/>
                      <a:pt x="52112" y="69692"/>
                      <a:pt x="43884" y="66950"/>
                    </a:cubicBezTo>
                    <a:cubicBezTo>
                      <a:pt x="38399" y="64207"/>
                      <a:pt x="32913" y="58721"/>
                      <a:pt x="32913" y="50493"/>
                    </a:cubicBezTo>
                    <a:cubicBezTo>
                      <a:pt x="32913" y="39522"/>
                      <a:pt x="41142" y="34036"/>
                      <a:pt x="49369" y="34036"/>
                    </a:cubicBezTo>
                    <a:lnTo>
                      <a:pt x="49369" y="34036"/>
                    </a:lnTo>
                    <a:close/>
                  </a:path>
                </a:pathLst>
              </a:custGeom>
              <a:grpFill/>
              <a:ln w="27426" cap="flat">
                <a:noFill/>
                <a:prstDash val="solid"/>
                <a:miter/>
              </a:ln>
            </p:spPr>
            <p:txBody>
              <a:bodyPr rtlCol="0" anchor="ctr"/>
              <a:lstStyle/>
              <a:p>
                <a:endParaRPr lang="en-US"/>
              </a:p>
            </p:txBody>
          </p:sp>
        </p:grpSp>
        <p:grpSp>
          <p:nvGrpSpPr>
            <p:cNvPr id="76" name="Graphic 3">
              <a:extLst>
                <a:ext uri="{FF2B5EF4-FFF2-40B4-BE49-F238E27FC236}">
                  <a16:creationId xmlns:a16="http://schemas.microsoft.com/office/drawing/2014/main" id="{8ED25149-9708-CB00-67AE-EB9246E6C80E}"/>
                </a:ext>
              </a:extLst>
            </p:cNvPr>
            <p:cNvGrpSpPr/>
            <p:nvPr/>
          </p:nvGrpSpPr>
          <p:grpSpPr>
            <a:xfrm>
              <a:off x="6051811" y="5038549"/>
              <a:ext cx="759780" cy="655871"/>
              <a:chOff x="662657" y="2010078"/>
              <a:chExt cx="1091621" cy="942328"/>
            </a:xfrm>
            <a:solidFill>
              <a:schemeClr val="bg1"/>
            </a:solidFill>
          </p:grpSpPr>
          <p:sp>
            <p:nvSpPr>
              <p:cNvPr id="77" name="Freeform 76">
                <a:extLst>
                  <a:ext uri="{FF2B5EF4-FFF2-40B4-BE49-F238E27FC236}">
                    <a16:creationId xmlns:a16="http://schemas.microsoft.com/office/drawing/2014/main" id="{4FB9C9CD-C636-5A46-8CA6-12CAD95615AE}"/>
                  </a:ext>
                </a:extLst>
              </p:cNvPr>
              <p:cNvSpPr/>
              <p:nvPr/>
            </p:nvSpPr>
            <p:spPr>
              <a:xfrm>
                <a:off x="761397" y="2497699"/>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0F86BC17-BED9-63A9-CE9C-86726E302638}"/>
                  </a:ext>
                </a:extLst>
              </p:cNvPr>
              <p:cNvSpPr/>
              <p:nvPr/>
            </p:nvSpPr>
            <p:spPr>
              <a:xfrm>
                <a:off x="761397" y="2585468"/>
                <a:ext cx="263305" cy="32913"/>
              </a:xfrm>
              <a:custGeom>
                <a:avLst/>
                <a:gdLst>
                  <a:gd name="connsiteX0" fmla="*/ 16457 w 263305"/>
                  <a:gd name="connsiteY0" fmla="*/ 32913 h 32913"/>
                  <a:gd name="connsiteX1" fmla="*/ 246849 w 263305"/>
                  <a:gd name="connsiteY1" fmla="*/ 32913 h 32913"/>
                  <a:gd name="connsiteX2" fmla="*/ 263306 w 263305"/>
                  <a:gd name="connsiteY2" fmla="*/ 16456 h 32913"/>
                  <a:gd name="connsiteX3" fmla="*/ 246849 w 263305"/>
                  <a:gd name="connsiteY3" fmla="*/ 0 h 32913"/>
                  <a:gd name="connsiteX4" fmla="*/ 16457 w 263305"/>
                  <a:gd name="connsiteY4" fmla="*/ 0 h 32913"/>
                  <a:gd name="connsiteX5" fmla="*/ 0 w 263305"/>
                  <a:gd name="connsiteY5" fmla="*/ 16456 h 32913"/>
                  <a:gd name="connsiteX6" fmla="*/ 16457 w 263305"/>
                  <a:gd name="connsiteY6" fmla="*/ 32913 h 32913"/>
                  <a:gd name="connsiteX7" fmla="*/ 16457 w 263305"/>
                  <a:gd name="connsiteY7" fmla="*/ 32913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16457" y="32913"/>
                    </a:moveTo>
                    <a:lnTo>
                      <a:pt x="246849" y="32913"/>
                    </a:lnTo>
                    <a:cubicBezTo>
                      <a:pt x="255077" y="32913"/>
                      <a:pt x="263306" y="24685"/>
                      <a:pt x="263306" y="16456"/>
                    </a:cubicBezTo>
                    <a:cubicBezTo>
                      <a:pt x="263306" y="8228"/>
                      <a:pt x="255077" y="0"/>
                      <a:pt x="246849" y="0"/>
                    </a:cubicBezTo>
                    <a:lnTo>
                      <a:pt x="16457" y="0"/>
                    </a:lnTo>
                    <a:cubicBezTo>
                      <a:pt x="8228" y="0"/>
                      <a:pt x="0" y="8228"/>
                      <a:pt x="0" y="16456"/>
                    </a:cubicBezTo>
                    <a:cubicBezTo>
                      <a:pt x="2743" y="24685"/>
                      <a:pt x="8228" y="32913"/>
                      <a:pt x="16457" y="32913"/>
                    </a:cubicBezTo>
                    <a:lnTo>
                      <a:pt x="16457" y="32913"/>
                    </a:lnTo>
                    <a:close/>
                  </a:path>
                </a:pathLst>
              </a:custGeom>
              <a:grp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ED941960-A063-6167-0D35-D92849794851}"/>
                  </a:ext>
                </a:extLst>
              </p:cNvPr>
              <p:cNvSpPr/>
              <p:nvPr/>
            </p:nvSpPr>
            <p:spPr>
              <a:xfrm>
                <a:off x="1394976" y="2316677"/>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grpSp>
            <p:nvGrpSpPr>
              <p:cNvPr id="80" name="Graphic 3">
                <a:extLst>
                  <a:ext uri="{FF2B5EF4-FFF2-40B4-BE49-F238E27FC236}">
                    <a16:creationId xmlns:a16="http://schemas.microsoft.com/office/drawing/2014/main" id="{C2D9429C-4964-F0AB-CAAE-FC068432FA50}"/>
                  </a:ext>
                </a:extLst>
              </p:cNvPr>
              <p:cNvGrpSpPr/>
              <p:nvPr/>
            </p:nvGrpSpPr>
            <p:grpSpPr>
              <a:xfrm>
                <a:off x="662657" y="2010078"/>
                <a:ext cx="1091621" cy="942328"/>
                <a:chOff x="662657" y="2010078"/>
                <a:chExt cx="1091621" cy="942328"/>
              </a:xfrm>
              <a:grpFill/>
            </p:grpSpPr>
            <p:sp>
              <p:nvSpPr>
                <p:cNvPr id="81" name="Freeform 80">
                  <a:extLst>
                    <a:ext uri="{FF2B5EF4-FFF2-40B4-BE49-F238E27FC236}">
                      <a16:creationId xmlns:a16="http://schemas.microsoft.com/office/drawing/2014/main" id="{B17FFF17-AC73-FB01-4672-B249B2EC464F}"/>
                    </a:ext>
                  </a:extLst>
                </p:cNvPr>
                <p:cNvSpPr/>
                <p:nvPr/>
              </p:nvSpPr>
              <p:spPr>
                <a:xfrm>
                  <a:off x="1394976" y="2404445"/>
                  <a:ext cx="263305" cy="32913"/>
                </a:xfrm>
                <a:custGeom>
                  <a:avLst/>
                  <a:gdLst>
                    <a:gd name="connsiteX0" fmla="*/ 246849 w 263305"/>
                    <a:gd name="connsiteY0" fmla="*/ 0 h 32913"/>
                    <a:gd name="connsiteX1" fmla="*/ 16457 w 263305"/>
                    <a:gd name="connsiteY1" fmla="*/ 0 h 32913"/>
                    <a:gd name="connsiteX2" fmla="*/ 0 w 263305"/>
                    <a:gd name="connsiteY2" fmla="*/ 16457 h 32913"/>
                    <a:gd name="connsiteX3" fmla="*/ 16457 w 263305"/>
                    <a:gd name="connsiteY3" fmla="*/ 32913 h 32913"/>
                    <a:gd name="connsiteX4" fmla="*/ 246849 w 263305"/>
                    <a:gd name="connsiteY4" fmla="*/ 32913 h 32913"/>
                    <a:gd name="connsiteX5" fmla="*/ 263305 w 263305"/>
                    <a:gd name="connsiteY5" fmla="*/ 16457 h 32913"/>
                    <a:gd name="connsiteX6" fmla="*/ 246849 w 263305"/>
                    <a:gd name="connsiteY6" fmla="*/ 0 h 32913"/>
                    <a:gd name="connsiteX7" fmla="*/ 246849 w 263305"/>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05" h="32913">
                      <a:moveTo>
                        <a:pt x="246849" y="0"/>
                      </a:moveTo>
                      <a:lnTo>
                        <a:pt x="16457" y="0"/>
                      </a:lnTo>
                      <a:cubicBezTo>
                        <a:pt x="8228" y="0"/>
                        <a:pt x="0" y="8228"/>
                        <a:pt x="0" y="16457"/>
                      </a:cubicBezTo>
                      <a:cubicBezTo>
                        <a:pt x="0" y="24685"/>
                        <a:pt x="8228" y="32913"/>
                        <a:pt x="16457" y="32913"/>
                      </a:cubicBezTo>
                      <a:lnTo>
                        <a:pt x="246849" y="32913"/>
                      </a:lnTo>
                      <a:cubicBezTo>
                        <a:pt x="255077" y="32913"/>
                        <a:pt x="263305" y="24685"/>
                        <a:pt x="263305" y="16457"/>
                      </a:cubicBezTo>
                      <a:cubicBezTo>
                        <a:pt x="263305" y="8228"/>
                        <a:pt x="255077" y="0"/>
                        <a:pt x="246849" y="0"/>
                      </a:cubicBezTo>
                      <a:lnTo>
                        <a:pt x="246849" y="0"/>
                      </a:lnTo>
                      <a:close/>
                    </a:path>
                  </a:pathLst>
                </a:custGeom>
                <a:grpFill/>
                <a:ln w="27426" cap="flat">
                  <a:noFill/>
                  <a:prstDash val="solid"/>
                  <a:miter/>
                </a:ln>
              </p:spPr>
              <p:txBody>
                <a:bodyPr rtlCol="0" anchor="ctr"/>
                <a:lstStyle/>
                <a:p>
                  <a:endParaRPr lang="en-US"/>
                </a:p>
              </p:txBody>
            </p:sp>
            <p:sp>
              <p:nvSpPr>
                <p:cNvPr id="82" name="Freeform 81">
                  <a:extLst>
                    <a:ext uri="{FF2B5EF4-FFF2-40B4-BE49-F238E27FC236}">
                      <a16:creationId xmlns:a16="http://schemas.microsoft.com/office/drawing/2014/main" id="{1AA42611-BF15-0552-7465-C7CA5BC111EE}"/>
                    </a:ext>
                  </a:extLst>
                </p:cNvPr>
                <p:cNvSpPr/>
                <p:nvPr/>
              </p:nvSpPr>
              <p:spPr>
                <a:xfrm>
                  <a:off x="662657" y="2010078"/>
                  <a:ext cx="1091621" cy="942328"/>
                </a:xfrm>
                <a:custGeom>
                  <a:avLst/>
                  <a:gdLst>
                    <a:gd name="connsiteX0" fmla="*/ 1075165 w 1091621"/>
                    <a:gd name="connsiteY0" fmla="*/ 569904 h 942328"/>
                    <a:gd name="connsiteX1" fmla="*/ 1091621 w 1091621"/>
                    <a:gd name="connsiteY1" fmla="*/ 553447 h 942328"/>
                    <a:gd name="connsiteX2" fmla="*/ 1091621 w 1091621"/>
                    <a:gd name="connsiteY2" fmla="*/ 251743 h 942328"/>
                    <a:gd name="connsiteX3" fmla="*/ 1047737 w 1091621"/>
                    <a:gd name="connsiteY3" fmla="*/ 207859 h 942328"/>
                    <a:gd name="connsiteX4" fmla="*/ 1017567 w 1091621"/>
                    <a:gd name="connsiteY4" fmla="*/ 207859 h 942328"/>
                    <a:gd name="connsiteX5" fmla="*/ 1017567 w 1091621"/>
                    <a:gd name="connsiteY5" fmla="*/ 35065 h 942328"/>
                    <a:gd name="connsiteX6" fmla="*/ 992882 w 1091621"/>
                    <a:gd name="connsiteY6" fmla="*/ 2152 h 942328"/>
                    <a:gd name="connsiteX7" fmla="*/ 951740 w 1091621"/>
                    <a:gd name="connsiteY7" fmla="*/ 13123 h 942328"/>
                    <a:gd name="connsiteX8" fmla="*/ 798145 w 1091621"/>
                    <a:gd name="connsiteY8" fmla="*/ 207859 h 942328"/>
                    <a:gd name="connsiteX9" fmla="*/ 573238 w 1091621"/>
                    <a:gd name="connsiteY9" fmla="*/ 207859 h 942328"/>
                    <a:gd name="connsiteX10" fmla="*/ 545811 w 1091621"/>
                    <a:gd name="connsiteY10" fmla="*/ 218830 h 942328"/>
                    <a:gd name="connsiteX11" fmla="*/ 518383 w 1091621"/>
                    <a:gd name="connsiteY11" fmla="*/ 207859 h 942328"/>
                    <a:gd name="connsiteX12" fmla="*/ 441586 w 1091621"/>
                    <a:gd name="connsiteY12" fmla="*/ 207859 h 942328"/>
                    <a:gd name="connsiteX13" fmla="*/ 430615 w 1091621"/>
                    <a:gd name="connsiteY13" fmla="*/ 196888 h 942328"/>
                    <a:gd name="connsiteX14" fmla="*/ 301704 w 1091621"/>
                    <a:gd name="connsiteY14" fmla="*/ 92663 h 942328"/>
                    <a:gd name="connsiteX15" fmla="*/ 172794 w 1091621"/>
                    <a:gd name="connsiteY15" fmla="*/ 196888 h 942328"/>
                    <a:gd name="connsiteX16" fmla="*/ 161823 w 1091621"/>
                    <a:gd name="connsiteY16" fmla="*/ 207859 h 942328"/>
                    <a:gd name="connsiteX17" fmla="*/ 49370 w 1091621"/>
                    <a:gd name="connsiteY17" fmla="*/ 207859 h 942328"/>
                    <a:gd name="connsiteX18" fmla="*/ 5486 w 1091621"/>
                    <a:gd name="connsiteY18" fmla="*/ 251743 h 942328"/>
                    <a:gd name="connsiteX19" fmla="*/ 5486 w 1091621"/>
                    <a:gd name="connsiteY19" fmla="*/ 320313 h 942328"/>
                    <a:gd name="connsiteX20" fmla="*/ 21942 w 1091621"/>
                    <a:gd name="connsiteY20" fmla="*/ 336769 h 942328"/>
                    <a:gd name="connsiteX21" fmla="*/ 38399 w 1091621"/>
                    <a:gd name="connsiteY21" fmla="*/ 320313 h 942328"/>
                    <a:gd name="connsiteX22" fmla="*/ 38399 w 1091621"/>
                    <a:gd name="connsiteY22" fmla="*/ 251743 h 942328"/>
                    <a:gd name="connsiteX23" fmla="*/ 49370 w 1091621"/>
                    <a:gd name="connsiteY23" fmla="*/ 240773 h 942328"/>
                    <a:gd name="connsiteX24" fmla="*/ 161823 w 1091621"/>
                    <a:gd name="connsiteY24" fmla="*/ 240773 h 942328"/>
                    <a:gd name="connsiteX25" fmla="*/ 205708 w 1091621"/>
                    <a:gd name="connsiteY25" fmla="*/ 205117 h 942328"/>
                    <a:gd name="connsiteX26" fmla="*/ 301704 w 1091621"/>
                    <a:gd name="connsiteY26" fmla="*/ 125576 h 942328"/>
                    <a:gd name="connsiteX27" fmla="*/ 397701 w 1091621"/>
                    <a:gd name="connsiteY27" fmla="*/ 205117 h 942328"/>
                    <a:gd name="connsiteX28" fmla="*/ 441586 w 1091621"/>
                    <a:gd name="connsiteY28" fmla="*/ 240773 h 942328"/>
                    <a:gd name="connsiteX29" fmla="*/ 518383 w 1091621"/>
                    <a:gd name="connsiteY29" fmla="*/ 240773 h 942328"/>
                    <a:gd name="connsiteX30" fmla="*/ 529354 w 1091621"/>
                    <a:gd name="connsiteY30" fmla="*/ 251743 h 942328"/>
                    <a:gd name="connsiteX31" fmla="*/ 529354 w 1091621"/>
                    <a:gd name="connsiteY31" fmla="*/ 328541 h 942328"/>
                    <a:gd name="connsiteX32" fmla="*/ 518383 w 1091621"/>
                    <a:gd name="connsiteY32" fmla="*/ 339512 h 942328"/>
                    <a:gd name="connsiteX33" fmla="*/ 414158 w 1091621"/>
                    <a:gd name="connsiteY33" fmla="*/ 468422 h 942328"/>
                    <a:gd name="connsiteX34" fmla="*/ 518383 w 1091621"/>
                    <a:gd name="connsiteY34" fmla="*/ 597332 h 942328"/>
                    <a:gd name="connsiteX35" fmla="*/ 529354 w 1091621"/>
                    <a:gd name="connsiteY35" fmla="*/ 608303 h 942328"/>
                    <a:gd name="connsiteX36" fmla="*/ 529354 w 1091621"/>
                    <a:gd name="connsiteY36" fmla="*/ 685100 h 942328"/>
                    <a:gd name="connsiteX37" fmla="*/ 518383 w 1091621"/>
                    <a:gd name="connsiteY37" fmla="*/ 696071 h 942328"/>
                    <a:gd name="connsiteX38" fmla="*/ 285248 w 1091621"/>
                    <a:gd name="connsiteY38" fmla="*/ 696071 h 942328"/>
                    <a:gd name="connsiteX39" fmla="*/ 271534 w 1091621"/>
                    <a:gd name="connsiteY39" fmla="*/ 701556 h 942328"/>
                    <a:gd name="connsiteX40" fmla="*/ 112453 w 1091621"/>
                    <a:gd name="connsiteY40" fmla="*/ 901778 h 942328"/>
                    <a:gd name="connsiteX41" fmla="*/ 106968 w 1091621"/>
                    <a:gd name="connsiteY41" fmla="*/ 901778 h 942328"/>
                    <a:gd name="connsiteX42" fmla="*/ 104225 w 1091621"/>
                    <a:gd name="connsiteY42" fmla="*/ 899036 h 942328"/>
                    <a:gd name="connsiteX43" fmla="*/ 104225 w 1091621"/>
                    <a:gd name="connsiteY43" fmla="*/ 718013 h 942328"/>
                    <a:gd name="connsiteX44" fmla="*/ 87769 w 1091621"/>
                    <a:gd name="connsiteY44" fmla="*/ 701556 h 942328"/>
                    <a:gd name="connsiteX45" fmla="*/ 43884 w 1091621"/>
                    <a:gd name="connsiteY45" fmla="*/ 701556 h 942328"/>
                    <a:gd name="connsiteX46" fmla="*/ 32913 w 1091621"/>
                    <a:gd name="connsiteY46" fmla="*/ 690585 h 942328"/>
                    <a:gd name="connsiteX47" fmla="*/ 32913 w 1091621"/>
                    <a:gd name="connsiteY47" fmla="*/ 397110 h 942328"/>
                    <a:gd name="connsiteX48" fmla="*/ 16457 w 1091621"/>
                    <a:gd name="connsiteY48" fmla="*/ 380653 h 942328"/>
                    <a:gd name="connsiteX49" fmla="*/ 0 w 1091621"/>
                    <a:gd name="connsiteY49" fmla="*/ 397110 h 942328"/>
                    <a:gd name="connsiteX50" fmla="*/ 0 w 1091621"/>
                    <a:gd name="connsiteY50" fmla="*/ 690585 h 942328"/>
                    <a:gd name="connsiteX51" fmla="*/ 43884 w 1091621"/>
                    <a:gd name="connsiteY51" fmla="*/ 734470 h 942328"/>
                    <a:gd name="connsiteX52" fmla="*/ 71312 w 1091621"/>
                    <a:gd name="connsiteY52" fmla="*/ 734470 h 942328"/>
                    <a:gd name="connsiteX53" fmla="*/ 71312 w 1091621"/>
                    <a:gd name="connsiteY53" fmla="*/ 907264 h 942328"/>
                    <a:gd name="connsiteX54" fmla="*/ 95997 w 1091621"/>
                    <a:gd name="connsiteY54" fmla="*/ 940177 h 942328"/>
                    <a:gd name="connsiteX55" fmla="*/ 137138 w 1091621"/>
                    <a:gd name="connsiteY55" fmla="*/ 929206 h 942328"/>
                    <a:gd name="connsiteX56" fmla="*/ 290733 w 1091621"/>
                    <a:gd name="connsiteY56" fmla="*/ 734470 h 942328"/>
                    <a:gd name="connsiteX57" fmla="*/ 515640 w 1091621"/>
                    <a:gd name="connsiteY57" fmla="*/ 734470 h 942328"/>
                    <a:gd name="connsiteX58" fmla="*/ 543068 w 1091621"/>
                    <a:gd name="connsiteY58" fmla="*/ 723499 h 942328"/>
                    <a:gd name="connsiteX59" fmla="*/ 570496 w 1091621"/>
                    <a:gd name="connsiteY59" fmla="*/ 734470 h 942328"/>
                    <a:gd name="connsiteX60" fmla="*/ 647293 w 1091621"/>
                    <a:gd name="connsiteY60" fmla="*/ 734470 h 942328"/>
                    <a:gd name="connsiteX61" fmla="*/ 691178 w 1091621"/>
                    <a:gd name="connsiteY61" fmla="*/ 698814 h 942328"/>
                    <a:gd name="connsiteX62" fmla="*/ 787174 w 1091621"/>
                    <a:gd name="connsiteY62" fmla="*/ 619273 h 942328"/>
                    <a:gd name="connsiteX63" fmla="*/ 883171 w 1091621"/>
                    <a:gd name="connsiteY63" fmla="*/ 698814 h 942328"/>
                    <a:gd name="connsiteX64" fmla="*/ 927055 w 1091621"/>
                    <a:gd name="connsiteY64" fmla="*/ 734470 h 942328"/>
                    <a:gd name="connsiteX65" fmla="*/ 1039509 w 1091621"/>
                    <a:gd name="connsiteY65" fmla="*/ 734470 h 942328"/>
                    <a:gd name="connsiteX66" fmla="*/ 1083393 w 1091621"/>
                    <a:gd name="connsiteY66" fmla="*/ 690585 h 942328"/>
                    <a:gd name="connsiteX67" fmla="*/ 1083393 w 1091621"/>
                    <a:gd name="connsiteY67" fmla="*/ 630245 h 942328"/>
                    <a:gd name="connsiteX68" fmla="*/ 1066937 w 1091621"/>
                    <a:gd name="connsiteY68" fmla="*/ 613788 h 942328"/>
                    <a:gd name="connsiteX69" fmla="*/ 1050480 w 1091621"/>
                    <a:gd name="connsiteY69" fmla="*/ 630245 h 942328"/>
                    <a:gd name="connsiteX70" fmla="*/ 1050480 w 1091621"/>
                    <a:gd name="connsiteY70" fmla="*/ 690585 h 942328"/>
                    <a:gd name="connsiteX71" fmla="*/ 1039509 w 1091621"/>
                    <a:gd name="connsiteY71" fmla="*/ 701556 h 942328"/>
                    <a:gd name="connsiteX72" fmla="*/ 927055 w 1091621"/>
                    <a:gd name="connsiteY72" fmla="*/ 701556 h 942328"/>
                    <a:gd name="connsiteX73" fmla="*/ 916084 w 1091621"/>
                    <a:gd name="connsiteY73" fmla="*/ 690585 h 942328"/>
                    <a:gd name="connsiteX74" fmla="*/ 787174 w 1091621"/>
                    <a:gd name="connsiteY74" fmla="*/ 586360 h 942328"/>
                    <a:gd name="connsiteX75" fmla="*/ 658264 w 1091621"/>
                    <a:gd name="connsiteY75" fmla="*/ 690585 h 942328"/>
                    <a:gd name="connsiteX76" fmla="*/ 647293 w 1091621"/>
                    <a:gd name="connsiteY76" fmla="*/ 701556 h 942328"/>
                    <a:gd name="connsiteX77" fmla="*/ 570496 w 1091621"/>
                    <a:gd name="connsiteY77" fmla="*/ 701556 h 942328"/>
                    <a:gd name="connsiteX78" fmla="*/ 559525 w 1091621"/>
                    <a:gd name="connsiteY78" fmla="*/ 690585 h 942328"/>
                    <a:gd name="connsiteX79" fmla="*/ 559525 w 1091621"/>
                    <a:gd name="connsiteY79" fmla="*/ 613788 h 942328"/>
                    <a:gd name="connsiteX80" fmla="*/ 523869 w 1091621"/>
                    <a:gd name="connsiteY80" fmla="*/ 569904 h 942328"/>
                    <a:gd name="connsiteX81" fmla="*/ 444328 w 1091621"/>
                    <a:gd name="connsiteY81" fmla="*/ 473907 h 942328"/>
                    <a:gd name="connsiteX82" fmla="*/ 523869 w 1091621"/>
                    <a:gd name="connsiteY82" fmla="*/ 377911 h 942328"/>
                    <a:gd name="connsiteX83" fmla="*/ 559525 w 1091621"/>
                    <a:gd name="connsiteY83" fmla="*/ 334026 h 942328"/>
                    <a:gd name="connsiteX84" fmla="*/ 559525 w 1091621"/>
                    <a:gd name="connsiteY84" fmla="*/ 257229 h 942328"/>
                    <a:gd name="connsiteX85" fmla="*/ 570496 w 1091621"/>
                    <a:gd name="connsiteY85" fmla="*/ 246258 h 942328"/>
                    <a:gd name="connsiteX86" fmla="*/ 803631 w 1091621"/>
                    <a:gd name="connsiteY86" fmla="*/ 246258 h 942328"/>
                    <a:gd name="connsiteX87" fmla="*/ 817345 w 1091621"/>
                    <a:gd name="connsiteY87" fmla="*/ 240773 h 942328"/>
                    <a:gd name="connsiteX88" fmla="*/ 976425 w 1091621"/>
                    <a:gd name="connsiteY88" fmla="*/ 37808 h 942328"/>
                    <a:gd name="connsiteX89" fmla="*/ 981911 w 1091621"/>
                    <a:gd name="connsiteY89" fmla="*/ 37808 h 942328"/>
                    <a:gd name="connsiteX90" fmla="*/ 984654 w 1091621"/>
                    <a:gd name="connsiteY90" fmla="*/ 40551 h 942328"/>
                    <a:gd name="connsiteX91" fmla="*/ 984654 w 1091621"/>
                    <a:gd name="connsiteY91" fmla="*/ 229801 h 942328"/>
                    <a:gd name="connsiteX92" fmla="*/ 1001110 w 1091621"/>
                    <a:gd name="connsiteY92" fmla="*/ 246258 h 942328"/>
                    <a:gd name="connsiteX93" fmla="*/ 1044994 w 1091621"/>
                    <a:gd name="connsiteY93" fmla="*/ 246258 h 942328"/>
                    <a:gd name="connsiteX94" fmla="*/ 1055966 w 1091621"/>
                    <a:gd name="connsiteY94" fmla="*/ 257229 h 942328"/>
                    <a:gd name="connsiteX95" fmla="*/ 1055966 w 1091621"/>
                    <a:gd name="connsiteY95" fmla="*/ 558933 h 942328"/>
                    <a:gd name="connsiteX96" fmla="*/ 1075165 w 1091621"/>
                    <a:gd name="connsiteY96" fmla="*/ 569904 h 942328"/>
                    <a:gd name="connsiteX97" fmla="*/ 1075165 w 1091621"/>
                    <a:gd name="connsiteY97" fmla="*/ 569904 h 942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91621" h="942328">
                      <a:moveTo>
                        <a:pt x="1075165" y="569904"/>
                      </a:moveTo>
                      <a:cubicBezTo>
                        <a:pt x="1083393" y="569904"/>
                        <a:pt x="1091621" y="561676"/>
                        <a:pt x="1091621" y="553447"/>
                      </a:cubicBezTo>
                      <a:lnTo>
                        <a:pt x="1091621" y="251743"/>
                      </a:lnTo>
                      <a:cubicBezTo>
                        <a:pt x="1091621" y="227059"/>
                        <a:pt x="1072422" y="207859"/>
                        <a:pt x="1047737" y="207859"/>
                      </a:cubicBezTo>
                      <a:lnTo>
                        <a:pt x="1017567" y="207859"/>
                      </a:lnTo>
                      <a:lnTo>
                        <a:pt x="1017567" y="35065"/>
                      </a:lnTo>
                      <a:cubicBezTo>
                        <a:pt x="1017567" y="18609"/>
                        <a:pt x="1009338" y="4895"/>
                        <a:pt x="992882" y="2152"/>
                      </a:cubicBezTo>
                      <a:cubicBezTo>
                        <a:pt x="979168" y="-3333"/>
                        <a:pt x="962711" y="2152"/>
                        <a:pt x="951740" y="13123"/>
                      </a:cubicBezTo>
                      <a:lnTo>
                        <a:pt x="798145" y="207859"/>
                      </a:lnTo>
                      <a:lnTo>
                        <a:pt x="573238" y="207859"/>
                      </a:lnTo>
                      <a:cubicBezTo>
                        <a:pt x="562267" y="207859"/>
                        <a:pt x="554039" y="210602"/>
                        <a:pt x="545811" y="218830"/>
                      </a:cubicBezTo>
                      <a:cubicBezTo>
                        <a:pt x="537582" y="213345"/>
                        <a:pt x="529354" y="207859"/>
                        <a:pt x="518383" y="207859"/>
                      </a:cubicBezTo>
                      <a:lnTo>
                        <a:pt x="441586" y="207859"/>
                      </a:lnTo>
                      <a:cubicBezTo>
                        <a:pt x="436100" y="207859"/>
                        <a:pt x="430615" y="202374"/>
                        <a:pt x="430615" y="196888"/>
                      </a:cubicBezTo>
                      <a:cubicBezTo>
                        <a:pt x="419644" y="136548"/>
                        <a:pt x="364788" y="92663"/>
                        <a:pt x="301704" y="92663"/>
                      </a:cubicBezTo>
                      <a:cubicBezTo>
                        <a:pt x="238621" y="92663"/>
                        <a:pt x="186508" y="136548"/>
                        <a:pt x="172794" y="196888"/>
                      </a:cubicBezTo>
                      <a:cubicBezTo>
                        <a:pt x="172794" y="202374"/>
                        <a:pt x="167309" y="207859"/>
                        <a:pt x="161823" y="207859"/>
                      </a:cubicBezTo>
                      <a:lnTo>
                        <a:pt x="49370" y="207859"/>
                      </a:lnTo>
                      <a:cubicBezTo>
                        <a:pt x="24685" y="207859"/>
                        <a:pt x="5486" y="227059"/>
                        <a:pt x="5486" y="251743"/>
                      </a:cubicBezTo>
                      <a:lnTo>
                        <a:pt x="5486" y="320313"/>
                      </a:lnTo>
                      <a:cubicBezTo>
                        <a:pt x="5486" y="328541"/>
                        <a:pt x="13714" y="336769"/>
                        <a:pt x="21942" y="336769"/>
                      </a:cubicBezTo>
                      <a:cubicBezTo>
                        <a:pt x="30170" y="336769"/>
                        <a:pt x="38399" y="328541"/>
                        <a:pt x="38399" y="320313"/>
                      </a:cubicBezTo>
                      <a:lnTo>
                        <a:pt x="38399" y="251743"/>
                      </a:lnTo>
                      <a:cubicBezTo>
                        <a:pt x="38399" y="246258"/>
                        <a:pt x="43884" y="240773"/>
                        <a:pt x="49370" y="240773"/>
                      </a:cubicBezTo>
                      <a:lnTo>
                        <a:pt x="161823" y="240773"/>
                      </a:lnTo>
                      <a:cubicBezTo>
                        <a:pt x="183766" y="240773"/>
                        <a:pt x="200222" y="227059"/>
                        <a:pt x="205708" y="205117"/>
                      </a:cubicBezTo>
                      <a:cubicBezTo>
                        <a:pt x="213936" y="158490"/>
                        <a:pt x="255077" y="125576"/>
                        <a:pt x="301704" y="125576"/>
                      </a:cubicBezTo>
                      <a:cubicBezTo>
                        <a:pt x="348332" y="125576"/>
                        <a:pt x="389473" y="158490"/>
                        <a:pt x="397701" y="205117"/>
                      </a:cubicBezTo>
                      <a:cubicBezTo>
                        <a:pt x="403187" y="227059"/>
                        <a:pt x="419644" y="240773"/>
                        <a:pt x="441586" y="240773"/>
                      </a:cubicBezTo>
                      <a:lnTo>
                        <a:pt x="518383" y="240773"/>
                      </a:lnTo>
                      <a:cubicBezTo>
                        <a:pt x="523869" y="240773"/>
                        <a:pt x="529354" y="246258"/>
                        <a:pt x="529354" y="251743"/>
                      </a:cubicBezTo>
                      <a:lnTo>
                        <a:pt x="529354" y="328541"/>
                      </a:lnTo>
                      <a:cubicBezTo>
                        <a:pt x="529354" y="334026"/>
                        <a:pt x="523869" y="339512"/>
                        <a:pt x="518383" y="339512"/>
                      </a:cubicBezTo>
                      <a:cubicBezTo>
                        <a:pt x="458042" y="353226"/>
                        <a:pt x="414158" y="405338"/>
                        <a:pt x="414158" y="468422"/>
                      </a:cubicBezTo>
                      <a:cubicBezTo>
                        <a:pt x="414158" y="531505"/>
                        <a:pt x="458042" y="583618"/>
                        <a:pt x="518383" y="597332"/>
                      </a:cubicBezTo>
                      <a:cubicBezTo>
                        <a:pt x="523869" y="597332"/>
                        <a:pt x="529354" y="602817"/>
                        <a:pt x="529354" y="608303"/>
                      </a:cubicBezTo>
                      <a:lnTo>
                        <a:pt x="529354" y="685100"/>
                      </a:lnTo>
                      <a:cubicBezTo>
                        <a:pt x="529354" y="690585"/>
                        <a:pt x="523869" y="696071"/>
                        <a:pt x="518383" y="696071"/>
                      </a:cubicBezTo>
                      <a:lnTo>
                        <a:pt x="285248" y="696071"/>
                      </a:lnTo>
                      <a:cubicBezTo>
                        <a:pt x="279762" y="696071"/>
                        <a:pt x="277019" y="698814"/>
                        <a:pt x="271534" y="701556"/>
                      </a:cubicBezTo>
                      <a:lnTo>
                        <a:pt x="112453" y="901778"/>
                      </a:lnTo>
                      <a:cubicBezTo>
                        <a:pt x="112453" y="904521"/>
                        <a:pt x="109711" y="904521"/>
                        <a:pt x="106968" y="901778"/>
                      </a:cubicBezTo>
                      <a:cubicBezTo>
                        <a:pt x="104225" y="901778"/>
                        <a:pt x="104225" y="899036"/>
                        <a:pt x="104225" y="899036"/>
                      </a:cubicBezTo>
                      <a:lnTo>
                        <a:pt x="104225" y="718013"/>
                      </a:lnTo>
                      <a:cubicBezTo>
                        <a:pt x="104225" y="709785"/>
                        <a:pt x="95997" y="701556"/>
                        <a:pt x="87769" y="701556"/>
                      </a:cubicBezTo>
                      <a:lnTo>
                        <a:pt x="43884" y="701556"/>
                      </a:lnTo>
                      <a:cubicBezTo>
                        <a:pt x="38399" y="701556"/>
                        <a:pt x="32913" y="696071"/>
                        <a:pt x="32913" y="690585"/>
                      </a:cubicBezTo>
                      <a:lnTo>
                        <a:pt x="32913" y="397110"/>
                      </a:lnTo>
                      <a:cubicBezTo>
                        <a:pt x="32913" y="388882"/>
                        <a:pt x="24685" y="380653"/>
                        <a:pt x="16457" y="380653"/>
                      </a:cubicBezTo>
                      <a:cubicBezTo>
                        <a:pt x="8228" y="380653"/>
                        <a:pt x="0" y="388882"/>
                        <a:pt x="0" y="397110"/>
                      </a:cubicBezTo>
                      <a:lnTo>
                        <a:pt x="0" y="690585"/>
                      </a:lnTo>
                      <a:cubicBezTo>
                        <a:pt x="0" y="715270"/>
                        <a:pt x="19199" y="734470"/>
                        <a:pt x="43884" y="734470"/>
                      </a:cubicBezTo>
                      <a:lnTo>
                        <a:pt x="71312" y="734470"/>
                      </a:lnTo>
                      <a:lnTo>
                        <a:pt x="71312" y="907264"/>
                      </a:lnTo>
                      <a:cubicBezTo>
                        <a:pt x="71312" y="923720"/>
                        <a:pt x="79540" y="937434"/>
                        <a:pt x="95997" y="940177"/>
                      </a:cubicBezTo>
                      <a:cubicBezTo>
                        <a:pt x="109711" y="945662"/>
                        <a:pt x="126167" y="940177"/>
                        <a:pt x="137138" y="929206"/>
                      </a:cubicBezTo>
                      <a:lnTo>
                        <a:pt x="290733" y="734470"/>
                      </a:lnTo>
                      <a:lnTo>
                        <a:pt x="515640" y="734470"/>
                      </a:lnTo>
                      <a:cubicBezTo>
                        <a:pt x="526611" y="734470"/>
                        <a:pt x="534840" y="731727"/>
                        <a:pt x="543068" y="723499"/>
                      </a:cubicBezTo>
                      <a:cubicBezTo>
                        <a:pt x="551296" y="728984"/>
                        <a:pt x="559525" y="734470"/>
                        <a:pt x="570496" y="734470"/>
                      </a:cubicBezTo>
                      <a:lnTo>
                        <a:pt x="647293" y="734470"/>
                      </a:lnTo>
                      <a:cubicBezTo>
                        <a:pt x="669235" y="734470"/>
                        <a:pt x="685692" y="720756"/>
                        <a:pt x="691178" y="698814"/>
                      </a:cubicBezTo>
                      <a:cubicBezTo>
                        <a:pt x="699406" y="652187"/>
                        <a:pt x="740547" y="619273"/>
                        <a:pt x="787174" y="619273"/>
                      </a:cubicBezTo>
                      <a:cubicBezTo>
                        <a:pt x="833801" y="619273"/>
                        <a:pt x="874943" y="652187"/>
                        <a:pt x="883171" y="698814"/>
                      </a:cubicBezTo>
                      <a:cubicBezTo>
                        <a:pt x="888657" y="720756"/>
                        <a:pt x="905113" y="734470"/>
                        <a:pt x="927055" y="734470"/>
                      </a:cubicBezTo>
                      <a:lnTo>
                        <a:pt x="1039509" y="734470"/>
                      </a:lnTo>
                      <a:cubicBezTo>
                        <a:pt x="1064194" y="734470"/>
                        <a:pt x="1083393" y="715270"/>
                        <a:pt x="1083393" y="690585"/>
                      </a:cubicBezTo>
                      <a:lnTo>
                        <a:pt x="1083393" y="630245"/>
                      </a:lnTo>
                      <a:cubicBezTo>
                        <a:pt x="1083393" y="622016"/>
                        <a:pt x="1075165" y="613788"/>
                        <a:pt x="1066937" y="613788"/>
                      </a:cubicBezTo>
                      <a:cubicBezTo>
                        <a:pt x="1058708" y="613788"/>
                        <a:pt x="1050480" y="622016"/>
                        <a:pt x="1050480" y="630245"/>
                      </a:cubicBezTo>
                      <a:lnTo>
                        <a:pt x="1050480" y="690585"/>
                      </a:lnTo>
                      <a:cubicBezTo>
                        <a:pt x="1050480" y="696071"/>
                        <a:pt x="1044994" y="701556"/>
                        <a:pt x="1039509" y="701556"/>
                      </a:cubicBezTo>
                      <a:lnTo>
                        <a:pt x="927055" y="701556"/>
                      </a:lnTo>
                      <a:cubicBezTo>
                        <a:pt x="921570" y="701556"/>
                        <a:pt x="916084" y="696071"/>
                        <a:pt x="916084" y="690585"/>
                      </a:cubicBezTo>
                      <a:cubicBezTo>
                        <a:pt x="905113" y="630245"/>
                        <a:pt x="850258" y="586360"/>
                        <a:pt x="787174" y="586360"/>
                      </a:cubicBezTo>
                      <a:cubicBezTo>
                        <a:pt x="724091" y="586360"/>
                        <a:pt x="671978" y="630245"/>
                        <a:pt x="658264" y="690585"/>
                      </a:cubicBezTo>
                      <a:cubicBezTo>
                        <a:pt x="658264" y="696071"/>
                        <a:pt x="652779" y="701556"/>
                        <a:pt x="647293" y="701556"/>
                      </a:cubicBezTo>
                      <a:lnTo>
                        <a:pt x="570496" y="701556"/>
                      </a:lnTo>
                      <a:cubicBezTo>
                        <a:pt x="565010" y="701556"/>
                        <a:pt x="559525" y="696071"/>
                        <a:pt x="559525" y="690585"/>
                      </a:cubicBezTo>
                      <a:lnTo>
                        <a:pt x="559525" y="613788"/>
                      </a:lnTo>
                      <a:cubicBezTo>
                        <a:pt x="559525" y="591846"/>
                        <a:pt x="545811" y="575390"/>
                        <a:pt x="523869" y="569904"/>
                      </a:cubicBezTo>
                      <a:cubicBezTo>
                        <a:pt x="477242" y="561676"/>
                        <a:pt x="444328" y="520534"/>
                        <a:pt x="444328" y="473907"/>
                      </a:cubicBezTo>
                      <a:cubicBezTo>
                        <a:pt x="444328" y="427280"/>
                        <a:pt x="477242" y="386139"/>
                        <a:pt x="523869" y="377911"/>
                      </a:cubicBezTo>
                      <a:cubicBezTo>
                        <a:pt x="545811" y="372425"/>
                        <a:pt x="559525" y="355969"/>
                        <a:pt x="559525" y="334026"/>
                      </a:cubicBezTo>
                      <a:lnTo>
                        <a:pt x="559525" y="257229"/>
                      </a:lnTo>
                      <a:cubicBezTo>
                        <a:pt x="559525" y="251743"/>
                        <a:pt x="565010" y="246258"/>
                        <a:pt x="570496" y="246258"/>
                      </a:cubicBezTo>
                      <a:lnTo>
                        <a:pt x="803631" y="246258"/>
                      </a:lnTo>
                      <a:cubicBezTo>
                        <a:pt x="809116" y="246258"/>
                        <a:pt x="811859" y="243515"/>
                        <a:pt x="817345" y="240773"/>
                      </a:cubicBezTo>
                      <a:lnTo>
                        <a:pt x="976425" y="37808"/>
                      </a:lnTo>
                      <a:cubicBezTo>
                        <a:pt x="976425" y="35065"/>
                        <a:pt x="979168" y="35065"/>
                        <a:pt x="981911" y="37808"/>
                      </a:cubicBezTo>
                      <a:cubicBezTo>
                        <a:pt x="984654" y="40551"/>
                        <a:pt x="984654" y="40551"/>
                        <a:pt x="984654" y="40551"/>
                      </a:cubicBezTo>
                      <a:lnTo>
                        <a:pt x="984654" y="229801"/>
                      </a:lnTo>
                      <a:cubicBezTo>
                        <a:pt x="984654" y="238030"/>
                        <a:pt x="992882" y="246258"/>
                        <a:pt x="1001110" y="246258"/>
                      </a:cubicBezTo>
                      <a:lnTo>
                        <a:pt x="1044994" y="246258"/>
                      </a:lnTo>
                      <a:cubicBezTo>
                        <a:pt x="1050480" y="246258"/>
                        <a:pt x="1055966" y="251743"/>
                        <a:pt x="1055966" y="257229"/>
                      </a:cubicBezTo>
                      <a:lnTo>
                        <a:pt x="1055966" y="558933"/>
                      </a:lnTo>
                      <a:cubicBezTo>
                        <a:pt x="1058708" y="561676"/>
                        <a:pt x="1066937" y="569904"/>
                        <a:pt x="1075165" y="569904"/>
                      </a:cubicBezTo>
                      <a:lnTo>
                        <a:pt x="1075165" y="569904"/>
                      </a:lnTo>
                      <a:close/>
                    </a:path>
                  </a:pathLst>
                </a:custGeom>
                <a:grpFill/>
                <a:ln w="27426" cap="flat">
                  <a:noFill/>
                  <a:prstDash val="solid"/>
                  <a:miter/>
                </a:ln>
              </p:spPr>
              <p:txBody>
                <a:bodyPr rtlCol="0" anchor="ctr"/>
                <a:lstStyle/>
                <a:p>
                  <a:endParaRPr lang="en-US"/>
                </a:p>
              </p:txBody>
            </p:sp>
          </p:grpSp>
        </p:grpSp>
        <p:sp>
          <p:nvSpPr>
            <p:cNvPr id="83" name="Google Shape;264;p9">
              <a:extLst>
                <a:ext uri="{FF2B5EF4-FFF2-40B4-BE49-F238E27FC236}">
                  <a16:creationId xmlns:a16="http://schemas.microsoft.com/office/drawing/2014/main" id="{FADBD0DB-8F85-D2F6-4BA0-77F804E2D242}"/>
                </a:ext>
              </a:extLst>
            </p:cNvPr>
            <p:cNvSpPr txBox="1"/>
            <p:nvPr/>
          </p:nvSpPr>
          <p:spPr>
            <a:xfrm>
              <a:off x="8657180" y="4266897"/>
              <a:ext cx="3003994"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7F1C58"/>
                  </a:solidFill>
                  <a:latin typeface="Calibri" panose="020F0502020204030204" pitchFamily="34" charset="0"/>
                  <a:ea typeface="Lato"/>
                  <a:cs typeface="Calibri" panose="020F0502020204030204" pitchFamily="34" charset="0"/>
                  <a:sym typeface="Lato"/>
                </a:rPr>
                <a:t>Γράψτε ένα σχέδιο για την αντιμετώπιση αυτών των απειλών</a:t>
              </a:r>
            </a:p>
          </p:txBody>
        </p:sp>
        <p:sp>
          <p:nvSpPr>
            <p:cNvPr id="84" name="Google Shape;264;p9">
              <a:extLst>
                <a:ext uri="{FF2B5EF4-FFF2-40B4-BE49-F238E27FC236}">
                  <a16:creationId xmlns:a16="http://schemas.microsoft.com/office/drawing/2014/main" id="{C8DE79D2-F516-A40E-7EA0-58BC7561CB82}"/>
                </a:ext>
              </a:extLst>
            </p:cNvPr>
            <p:cNvSpPr txBox="1"/>
            <p:nvPr/>
          </p:nvSpPr>
          <p:spPr>
            <a:xfrm>
              <a:off x="7887285" y="5775228"/>
              <a:ext cx="2658262" cy="922092"/>
            </a:xfrm>
            <a:prstGeom prst="rect">
              <a:avLst/>
            </a:prstGeom>
            <a:noFill/>
            <a:ln>
              <a:noFill/>
            </a:ln>
          </p:spPr>
          <p:txBody>
            <a:bodyPr spcFirstLastPara="1" wrap="square" lIns="91425" tIns="45700" rIns="91425" bIns="45700" anchor="t" anchorCtr="0">
              <a:noAutofit/>
            </a:bodyPr>
            <a:lstStyle/>
            <a:p>
              <a:pPr lvl="0">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Δημιουργήστε μια πλατφόρμα μηνυμάτων</a:t>
              </a:r>
            </a:p>
          </p:txBody>
        </p:sp>
        <p:sp>
          <p:nvSpPr>
            <p:cNvPr id="85" name="Google Shape;264;p9">
              <a:extLst>
                <a:ext uri="{FF2B5EF4-FFF2-40B4-BE49-F238E27FC236}">
                  <a16:creationId xmlns:a16="http://schemas.microsoft.com/office/drawing/2014/main" id="{27AEE748-75C0-901F-425B-5830B9BF63AF}"/>
                </a:ext>
              </a:extLst>
            </p:cNvPr>
            <p:cNvSpPr txBox="1"/>
            <p:nvPr/>
          </p:nvSpPr>
          <p:spPr>
            <a:xfrm>
              <a:off x="1602930" y="5775228"/>
              <a:ext cx="2433775"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EDA13E"/>
                  </a:solidFill>
                  <a:latin typeface="Calibri" panose="020F0502020204030204" pitchFamily="34" charset="0"/>
                  <a:ea typeface="Lato"/>
                  <a:cs typeface="Calibri" panose="020F0502020204030204" pitchFamily="34" charset="0"/>
                  <a:sym typeface="Lato"/>
                </a:rPr>
                <a:t>Εκπαίδευση του προσωπικού για τη χρήση του σχεδίου</a:t>
              </a:r>
            </a:p>
          </p:txBody>
        </p:sp>
        <p:sp>
          <p:nvSpPr>
            <p:cNvPr id="86" name="Google Shape;264;p9">
              <a:extLst>
                <a:ext uri="{FF2B5EF4-FFF2-40B4-BE49-F238E27FC236}">
                  <a16:creationId xmlns:a16="http://schemas.microsoft.com/office/drawing/2014/main" id="{1F070E18-FEE6-2D94-96D8-4E43FB0BD697}"/>
                </a:ext>
              </a:extLst>
            </p:cNvPr>
            <p:cNvSpPr txBox="1"/>
            <p:nvPr/>
          </p:nvSpPr>
          <p:spPr>
            <a:xfrm>
              <a:off x="700047" y="4266897"/>
              <a:ext cx="2422801"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B41F7A"/>
                  </a:solidFill>
                  <a:latin typeface="Calibri" panose="020F0502020204030204" pitchFamily="34" charset="0"/>
                  <a:ea typeface="Lato"/>
                  <a:cs typeface="Calibri" panose="020F0502020204030204" pitchFamily="34" charset="0"/>
                  <a:sym typeface="Lato"/>
                </a:rPr>
                <a:t>Εκπαιδεύστε τους εκπροσώπους σας</a:t>
              </a:r>
            </a:p>
          </p:txBody>
        </p:sp>
        <p:sp>
          <p:nvSpPr>
            <p:cNvPr id="87" name="Google Shape;264;p9">
              <a:extLst>
                <a:ext uri="{FF2B5EF4-FFF2-40B4-BE49-F238E27FC236}">
                  <a16:creationId xmlns:a16="http://schemas.microsoft.com/office/drawing/2014/main" id="{3FA7633E-7056-E36C-DE5A-EF1FE0723DA5}"/>
                </a:ext>
              </a:extLst>
            </p:cNvPr>
            <p:cNvSpPr txBox="1"/>
            <p:nvPr/>
          </p:nvSpPr>
          <p:spPr>
            <a:xfrm>
              <a:off x="700047" y="2796450"/>
              <a:ext cx="3215327" cy="922092"/>
            </a:xfrm>
            <a:prstGeom prst="rect">
              <a:avLst/>
            </a:prstGeom>
            <a:noFill/>
            <a:ln>
              <a:noFill/>
            </a:ln>
          </p:spPr>
          <p:txBody>
            <a:bodyPr spcFirstLastPara="1" wrap="square" lIns="91425" tIns="45700" rIns="91425" bIns="45700" anchor="t" anchorCtr="0">
              <a:noAutofit/>
            </a:bodyPr>
            <a:lstStyle/>
            <a:p>
              <a:pPr lvl="0" algn="r">
                <a:lnSpc>
                  <a:spcPts val="2020"/>
                </a:lnSpc>
                <a:buClr>
                  <a:srgbClr val="000000"/>
                </a:buClr>
                <a:buSzPts val="3600"/>
              </a:pPr>
              <a:r>
                <a:rPr lang="en-US" sz="2100" b="1" dirty="0">
                  <a:solidFill>
                    <a:srgbClr val="F16924"/>
                  </a:solidFill>
                  <a:latin typeface="Calibri" panose="020F0502020204030204" pitchFamily="34" charset="0"/>
                  <a:ea typeface="Lato"/>
                  <a:cs typeface="Calibri" panose="020F0502020204030204" pitchFamily="34" charset="0"/>
                  <a:sym typeface="Lato"/>
                </a:rPr>
                <a:t>Άσκηση/ενημέρωση του σχεδίου (τακτικά)</a:t>
              </a:r>
            </a:p>
          </p:txBody>
        </p:sp>
        <p:grpSp>
          <p:nvGrpSpPr>
            <p:cNvPr id="88" name="Graphic 3">
              <a:extLst>
                <a:ext uri="{FF2B5EF4-FFF2-40B4-BE49-F238E27FC236}">
                  <a16:creationId xmlns:a16="http://schemas.microsoft.com/office/drawing/2014/main" id="{C8CD2D9B-EE5D-8601-61A3-ACE7CC1A8DA0}"/>
                </a:ext>
              </a:extLst>
            </p:cNvPr>
            <p:cNvGrpSpPr/>
            <p:nvPr/>
          </p:nvGrpSpPr>
          <p:grpSpPr>
            <a:xfrm>
              <a:off x="4584925" y="4117497"/>
              <a:ext cx="765356" cy="558517"/>
              <a:chOff x="8408232" y="3880051"/>
              <a:chExt cx="1097482" cy="800886"/>
            </a:xfrm>
            <a:solidFill>
              <a:schemeClr val="bg1"/>
            </a:solidFill>
          </p:grpSpPr>
          <p:sp>
            <p:nvSpPr>
              <p:cNvPr id="89" name="Freeform 88">
                <a:extLst>
                  <a:ext uri="{FF2B5EF4-FFF2-40B4-BE49-F238E27FC236}">
                    <a16:creationId xmlns:a16="http://schemas.microsoft.com/office/drawing/2014/main" id="{FB231189-71AF-3DB7-61C5-1F75A2CCCBB2}"/>
                  </a:ext>
                </a:extLst>
              </p:cNvPr>
              <p:cNvSpPr/>
              <p:nvPr/>
            </p:nvSpPr>
            <p:spPr>
              <a:xfrm>
                <a:off x="8493258" y="4565742"/>
                <a:ext cx="32912" cy="115195"/>
              </a:xfrm>
              <a:custGeom>
                <a:avLst/>
                <a:gdLst>
                  <a:gd name="connsiteX0" fmla="*/ 16457 w 32912"/>
                  <a:gd name="connsiteY0" fmla="*/ 0 h 115195"/>
                  <a:gd name="connsiteX1" fmla="*/ 0 w 32912"/>
                  <a:gd name="connsiteY1" fmla="*/ 16457 h 115195"/>
                  <a:gd name="connsiteX2" fmla="*/ 0 w 32912"/>
                  <a:gd name="connsiteY2" fmla="*/ 98740 h 115195"/>
                  <a:gd name="connsiteX3" fmla="*/ 16457 w 32912"/>
                  <a:gd name="connsiteY3" fmla="*/ 115196 h 115195"/>
                  <a:gd name="connsiteX4" fmla="*/ 32913 w 32912"/>
                  <a:gd name="connsiteY4" fmla="*/ 98740 h 115195"/>
                  <a:gd name="connsiteX5" fmla="*/ 32913 w 32912"/>
                  <a:gd name="connsiteY5" fmla="*/ 16457 h 115195"/>
                  <a:gd name="connsiteX6" fmla="*/ 16457 w 32912"/>
                  <a:gd name="connsiteY6" fmla="*/ 0 h 11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15195">
                    <a:moveTo>
                      <a:pt x="16457" y="0"/>
                    </a:moveTo>
                    <a:cubicBezTo>
                      <a:pt x="8228" y="0"/>
                      <a:pt x="0" y="8228"/>
                      <a:pt x="0" y="16457"/>
                    </a:cubicBezTo>
                    <a:lnTo>
                      <a:pt x="0" y="98740"/>
                    </a:lnTo>
                    <a:cubicBezTo>
                      <a:pt x="0" y="106968"/>
                      <a:pt x="8228" y="115196"/>
                      <a:pt x="16457" y="115196"/>
                    </a:cubicBezTo>
                    <a:cubicBezTo>
                      <a:pt x="24685" y="115196"/>
                      <a:pt x="32913" y="106968"/>
                      <a:pt x="32913" y="98740"/>
                    </a:cubicBezTo>
                    <a:lnTo>
                      <a:pt x="32913" y="16457"/>
                    </a:lnTo>
                    <a:cubicBezTo>
                      <a:pt x="30171" y="8228"/>
                      <a:pt x="24685" y="0"/>
                      <a:pt x="16457" y="0"/>
                    </a:cubicBezTo>
                    <a:close/>
                  </a:path>
                </a:pathLst>
              </a:custGeom>
              <a:grpFill/>
              <a:ln w="27426" cap="flat">
                <a:noFill/>
                <a:prstDash val="solid"/>
                <a:miter/>
              </a:ln>
            </p:spPr>
            <p:txBody>
              <a:bodyPr rtlCol="0" anchor="ctr"/>
              <a:lstStyle/>
              <a:p>
                <a:endParaRPr lang="en-US"/>
              </a:p>
            </p:txBody>
          </p:sp>
          <p:grpSp>
            <p:nvGrpSpPr>
              <p:cNvPr id="90" name="Graphic 3">
                <a:extLst>
                  <a:ext uri="{FF2B5EF4-FFF2-40B4-BE49-F238E27FC236}">
                    <a16:creationId xmlns:a16="http://schemas.microsoft.com/office/drawing/2014/main" id="{DA85568D-FE0D-413A-D665-757267078159}"/>
                  </a:ext>
                </a:extLst>
              </p:cNvPr>
              <p:cNvGrpSpPr/>
              <p:nvPr/>
            </p:nvGrpSpPr>
            <p:grpSpPr>
              <a:xfrm>
                <a:off x="8408232" y="3880051"/>
                <a:ext cx="1097482" cy="800886"/>
                <a:chOff x="8408232" y="3880051"/>
                <a:chExt cx="1097482" cy="800886"/>
              </a:xfrm>
              <a:grpFill/>
            </p:grpSpPr>
            <p:sp>
              <p:nvSpPr>
                <p:cNvPr id="91" name="Freeform 90">
                  <a:extLst>
                    <a:ext uri="{FF2B5EF4-FFF2-40B4-BE49-F238E27FC236}">
                      <a16:creationId xmlns:a16="http://schemas.microsoft.com/office/drawing/2014/main" id="{18676404-6AD1-8047-905F-A9E35508B5CD}"/>
                    </a:ext>
                  </a:extLst>
                </p:cNvPr>
                <p:cNvSpPr/>
                <p:nvPr/>
              </p:nvSpPr>
              <p:spPr>
                <a:xfrm>
                  <a:off x="8408232" y="3880051"/>
                  <a:ext cx="1097482" cy="800886"/>
                </a:xfrm>
                <a:custGeom>
                  <a:avLst/>
                  <a:gdLst>
                    <a:gd name="connsiteX0" fmla="*/ 1055965 w 1097482"/>
                    <a:gd name="connsiteY0" fmla="*/ 586951 h 800886"/>
                    <a:gd name="connsiteX1" fmla="*/ 990139 w 1097482"/>
                    <a:gd name="connsiteY1" fmla="*/ 567752 h 800886"/>
                    <a:gd name="connsiteX2" fmla="*/ 984653 w 1097482"/>
                    <a:gd name="connsiteY2" fmla="*/ 562266 h 800886"/>
                    <a:gd name="connsiteX3" fmla="*/ 984653 w 1097482"/>
                    <a:gd name="connsiteY3" fmla="*/ 540324 h 800886"/>
                    <a:gd name="connsiteX4" fmla="*/ 1001110 w 1097482"/>
                    <a:gd name="connsiteY4" fmla="*/ 526610 h 800886"/>
                    <a:gd name="connsiteX5" fmla="*/ 1036766 w 1097482"/>
                    <a:gd name="connsiteY5" fmla="*/ 441585 h 800886"/>
                    <a:gd name="connsiteX6" fmla="*/ 1036766 w 1097482"/>
                    <a:gd name="connsiteY6" fmla="*/ 411414 h 800886"/>
                    <a:gd name="connsiteX7" fmla="*/ 1042252 w 1097482"/>
                    <a:gd name="connsiteY7" fmla="*/ 397701 h 800886"/>
                    <a:gd name="connsiteX8" fmla="*/ 1053223 w 1097482"/>
                    <a:gd name="connsiteY8" fmla="*/ 353816 h 800886"/>
                    <a:gd name="connsiteX9" fmla="*/ 1053223 w 1097482"/>
                    <a:gd name="connsiteY9" fmla="*/ 271533 h 800886"/>
                    <a:gd name="connsiteX10" fmla="*/ 1036766 w 1097482"/>
                    <a:gd name="connsiteY10" fmla="*/ 255077 h 800886"/>
                    <a:gd name="connsiteX11" fmla="*/ 883171 w 1097482"/>
                    <a:gd name="connsiteY11" fmla="*/ 255077 h 800886"/>
                    <a:gd name="connsiteX12" fmla="*/ 781689 w 1097482"/>
                    <a:gd name="connsiteY12" fmla="*/ 356559 h 800886"/>
                    <a:gd name="connsiteX13" fmla="*/ 781689 w 1097482"/>
                    <a:gd name="connsiteY13" fmla="*/ 356559 h 800886"/>
                    <a:gd name="connsiteX14" fmla="*/ 789917 w 1097482"/>
                    <a:gd name="connsiteY14" fmla="*/ 394958 h 800886"/>
                    <a:gd name="connsiteX15" fmla="*/ 798145 w 1097482"/>
                    <a:gd name="connsiteY15" fmla="*/ 411414 h 800886"/>
                    <a:gd name="connsiteX16" fmla="*/ 798145 w 1097482"/>
                    <a:gd name="connsiteY16" fmla="*/ 436099 h 800886"/>
                    <a:gd name="connsiteX17" fmla="*/ 850258 w 1097482"/>
                    <a:gd name="connsiteY17" fmla="*/ 537582 h 800886"/>
                    <a:gd name="connsiteX18" fmla="*/ 850258 w 1097482"/>
                    <a:gd name="connsiteY18" fmla="*/ 559523 h 800886"/>
                    <a:gd name="connsiteX19" fmla="*/ 836544 w 1097482"/>
                    <a:gd name="connsiteY19" fmla="*/ 567752 h 800886"/>
                    <a:gd name="connsiteX20" fmla="*/ 803631 w 1097482"/>
                    <a:gd name="connsiteY20" fmla="*/ 575980 h 800886"/>
                    <a:gd name="connsiteX21" fmla="*/ 710377 w 1097482"/>
                    <a:gd name="connsiteY21" fmla="*/ 543067 h 800886"/>
                    <a:gd name="connsiteX22" fmla="*/ 704892 w 1097482"/>
                    <a:gd name="connsiteY22" fmla="*/ 532096 h 800886"/>
                    <a:gd name="connsiteX23" fmla="*/ 674721 w 1097482"/>
                    <a:gd name="connsiteY23" fmla="*/ 501926 h 800886"/>
                    <a:gd name="connsiteX24" fmla="*/ 674721 w 1097482"/>
                    <a:gd name="connsiteY24" fmla="*/ 449813 h 800886"/>
                    <a:gd name="connsiteX25" fmla="*/ 682949 w 1097482"/>
                    <a:gd name="connsiteY25" fmla="*/ 441585 h 800886"/>
                    <a:gd name="connsiteX26" fmla="*/ 740547 w 1097482"/>
                    <a:gd name="connsiteY26" fmla="*/ 304447 h 800886"/>
                    <a:gd name="connsiteX27" fmla="*/ 740547 w 1097482"/>
                    <a:gd name="connsiteY27" fmla="*/ 263305 h 800886"/>
                    <a:gd name="connsiteX28" fmla="*/ 757004 w 1097482"/>
                    <a:gd name="connsiteY28" fmla="*/ 186508 h 800886"/>
                    <a:gd name="connsiteX29" fmla="*/ 757004 w 1097482"/>
                    <a:gd name="connsiteY29" fmla="*/ 16457 h 800886"/>
                    <a:gd name="connsiteX30" fmla="*/ 740547 w 1097482"/>
                    <a:gd name="connsiteY30" fmla="*/ 0 h 800886"/>
                    <a:gd name="connsiteX31" fmla="*/ 501926 w 1097482"/>
                    <a:gd name="connsiteY31" fmla="*/ 0 h 800886"/>
                    <a:gd name="connsiteX32" fmla="*/ 348332 w 1097482"/>
                    <a:gd name="connsiteY32" fmla="*/ 153595 h 800886"/>
                    <a:gd name="connsiteX33" fmla="*/ 348332 w 1097482"/>
                    <a:gd name="connsiteY33" fmla="*/ 186508 h 800886"/>
                    <a:gd name="connsiteX34" fmla="*/ 364788 w 1097482"/>
                    <a:gd name="connsiteY34" fmla="*/ 263305 h 800886"/>
                    <a:gd name="connsiteX35" fmla="*/ 364788 w 1097482"/>
                    <a:gd name="connsiteY35" fmla="*/ 298961 h 800886"/>
                    <a:gd name="connsiteX36" fmla="*/ 433357 w 1097482"/>
                    <a:gd name="connsiteY36" fmla="*/ 447070 h 800886"/>
                    <a:gd name="connsiteX37" fmla="*/ 433357 w 1097482"/>
                    <a:gd name="connsiteY37" fmla="*/ 501926 h 800886"/>
                    <a:gd name="connsiteX38" fmla="*/ 403187 w 1097482"/>
                    <a:gd name="connsiteY38" fmla="*/ 532096 h 800886"/>
                    <a:gd name="connsiteX39" fmla="*/ 397701 w 1097482"/>
                    <a:gd name="connsiteY39" fmla="*/ 543067 h 800886"/>
                    <a:gd name="connsiteX40" fmla="*/ 298961 w 1097482"/>
                    <a:gd name="connsiteY40" fmla="*/ 578723 h 800886"/>
                    <a:gd name="connsiteX41" fmla="*/ 279763 w 1097482"/>
                    <a:gd name="connsiteY41" fmla="*/ 589694 h 800886"/>
                    <a:gd name="connsiteX42" fmla="*/ 263306 w 1097482"/>
                    <a:gd name="connsiteY42" fmla="*/ 581466 h 800886"/>
                    <a:gd name="connsiteX43" fmla="*/ 323646 w 1097482"/>
                    <a:gd name="connsiteY43" fmla="*/ 532096 h 800886"/>
                    <a:gd name="connsiteX44" fmla="*/ 323646 w 1097482"/>
                    <a:gd name="connsiteY44" fmla="*/ 518382 h 800886"/>
                    <a:gd name="connsiteX45" fmla="*/ 309932 w 1097482"/>
                    <a:gd name="connsiteY45" fmla="*/ 419643 h 800886"/>
                    <a:gd name="connsiteX46" fmla="*/ 307190 w 1097482"/>
                    <a:gd name="connsiteY46" fmla="*/ 389472 h 800886"/>
                    <a:gd name="connsiteX47" fmla="*/ 172794 w 1097482"/>
                    <a:gd name="connsiteY47" fmla="*/ 255077 h 800886"/>
                    <a:gd name="connsiteX48" fmla="*/ 38399 w 1097482"/>
                    <a:gd name="connsiteY48" fmla="*/ 389472 h 800886"/>
                    <a:gd name="connsiteX49" fmla="*/ 35656 w 1097482"/>
                    <a:gd name="connsiteY49" fmla="*/ 419643 h 800886"/>
                    <a:gd name="connsiteX50" fmla="*/ 21942 w 1097482"/>
                    <a:gd name="connsiteY50" fmla="*/ 518382 h 800886"/>
                    <a:gd name="connsiteX51" fmla="*/ 21942 w 1097482"/>
                    <a:gd name="connsiteY51" fmla="*/ 532096 h 800886"/>
                    <a:gd name="connsiteX52" fmla="*/ 82283 w 1097482"/>
                    <a:gd name="connsiteY52" fmla="*/ 581466 h 800886"/>
                    <a:gd name="connsiteX53" fmla="*/ 38399 w 1097482"/>
                    <a:gd name="connsiteY53" fmla="*/ 603408 h 800886"/>
                    <a:gd name="connsiteX54" fmla="*/ 0 w 1097482"/>
                    <a:gd name="connsiteY54" fmla="*/ 663748 h 800886"/>
                    <a:gd name="connsiteX55" fmla="*/ 0 w 1097482"/>
                    <a:gd name="connsiteY55" fmla="*/ 781687 h 800886"/>
                    <a:gd name="connsiteX56" fmla="*/ 16457 w 1097482"/>
                    <a:gd name="connsiteY56" fmla="*/ 798144 h 800886"/>
                    <a:gd name="connsiteX57" fmla="*/ 32914 w 1097482"/>
                    <a:gd name="connsiteY57" fmla="*/ 781687 h 800886"/>
                    <a:gd name="connsiteX58" fmla="*/ 32914 w 1097482"/>
                    <a:gd name="connsiteY58" fmla="*/ 663748 h 800886"/>
                    <a:gd name="connsiteX59" fmla="*/ 52112 w 1097482"/>
                    <a:gd name="connsiteY59" fmla="*/ 633578 h 800886"/>
                    <a:gd name="connsiteX60" fmla="*/ 104225 w 1097482"/>
                    <a:gd name="connsiteY60" fmla="*/ 606151 h 800886"/>
                    <a:gd name="connsiteX61" fmla="*/ 123425 w 1097482"/>
                    <a:gd name="connsiteY61" fmla="*/ 622607 h 800886"/>
                    <a:gd name="connsiteX62" fmla="*/ 170052 w 1097482"/>
                    <a:gd name="connsiteY62" fmla="*/ 641806 h 800886"/>
                    <a:gd name="connsiteX63" fmla="*/ 216678 w 1097482"/>
                    <a:gd name="connsiteY63" fmla="*/ 622607 h 800886"/>
                    <a:gd name="connsiteX64" fmla="*/ 235878 w 1097482"/>
                    <a:gd name="connsiteY64" fmla="*/ 606151 h 800886"/>
                    <a:gd name="connsiteX65" fmla="*/ 252335 w 1097482"/>
                    <a:gd name="connsiteY65" fmla="*/ 614379 h 800886"/>
                    <a:gd name="connsiteX66" fmla="*/ 238621 w 1097482"/>
                    <a:gd name="connsiteY66" fmla="*/ 658263 h 800886"/>
                    <a:gd name="connsiteX67" fmla="*/ 238621 w 1097482"/>
                    <a:gd name="connsiteY67" fmla="*/ 781687 h 800886"/>
                    <a:gd name="connsiteX68" fmla="*/ 255077 w 1097482"/>
                    <a:gd name="connsiteY68" fmla="*/ 798144 h 800886"/>
                    <a:gd name="connsiteX69" fmla="*/ 271534 w 1097482"/>
                    <a:gd name="connsiteY69" fmla="*/ 781687 h 800886"/>
                    <a:gd name="connsiteX70" fmla="*/ 271534 w 1097482"/>
                    <a:gd name="connsiteY70" fmla="*/ 658263 h 800886"/>
                    <a:gd name="connsiteX71" fmla="*/ 307190 w 1097482"/>
                    <a:gd name="connsiteY71" fmla="*/ 608893 h 800886"/>
                    <a:gd name="connsiteX72" fmla="*/ 411415 w 1097482"/>
                    <a:gd name="connsiteY72" fmla="*/ 570495 h 800886"/>
                    <a:gd name="connsiteX73" fmla="*/ 455300 w 1097482"/>
                    <a:gd name="connsiteY73" fmla="*/ 636321 h 800886"/>
                    <a:gd name="connsiteX74" fmla="*/ 479984 w 1097482"/>
                    <a:gd name="connsiteY74" fmla="*/ 650035 h 800886"/>
                    <a:gd name="connsiteX75" fmla="*/ 482727 w 1097482"/>
                    <a:gd name="connsiteY75" fmla="*/ 650035 h 800886"/>
                    <a:gd name="connsiteX76" fmla="*/ 504669 w 1097482"/>
                    <a:gd name="connsiteY76" fmla="*/ 639064 h 800886"/>
                    <a:gd name="connsiteX77" fmla="*/ 532097 w 1097482"/>
                    <a:gd name="connsiteY77" fmla="*/ 611636 h 800886"/>
                    <a:gd name="connsiteX78" fmla="*/ 532097 w 1097482"/>
                    <a:gd name="connsiteY78" fmla="*/ 778944 h 800886"/>
                    <a:gd name="connsiteX79" fmla="*/ 548553 w 1097482"/>
                    <a:gd name="connsiteY79" fmla="*/ 795401 h 800886"/>
                    <a:gd name="connsiteX80" fmla="*/ 565010 w 1097482"/>
                    <a:gd name="connsiteY80" fmla="*/ 778944 h 800886"/>
                    <a:gd name="connsiteX81" fmla="*/ 565010 w 1097482"/>
                    <a:gd name="connsiteY81" fmla="*/ 611636 h 800886"/>
                    <a:gd name="connsiteX82" fmla="*/ 592438 w 1097482"/>
                    <a:gd name="connsiteY82" fmla="*/ 639064 h 800886"/>
                    <a:gd name="connsiteX83" fmla="*/ 614380 w 1097482"/>
                    <a:gd name="connsiteY83" fmla="*/ 650035 h 800886"/>
                    <a:gd name="connsiteX84" fmla="*/ 617123 w 1097482"/>
                    <a:gd name="connsiteY84" fmla="*/ 650035 h 800886"/>
                    <a:gd name="connsiteX85" fmla="*/ 641807 w 1097482"/>
                    <a:gd name="connsiteY85" fmla="*/ 636321 h 800886"/>
                    <a:gd name="connsiteX86" fmla="*/ 685692 w 1097482"/>
                    <a:gd name="connsiteY86" fmla="*/ 570495 h 800886"/>
                    <a:gd name="connsiteX87" fmla="*/ 789917 w 1097482"/>
                    <a:gd name="connsiteY87" fmla="*/ 608893 h 800886"/>
                    <a:gd name="connsiteX88" fmla="*/ 825573 w 1097482"/>
                    <a:gd name="connsiteY88" fmla="*/ 658263 h 800886"/>
                    <a:gd name="connsiteX89" fmla="*/ 825573 w 1097482"/>
                    <a:gd name="connsiteY89" fmla="*/ 781687 h 800886"/>
                    <a:gd name="connsiteX90" fmla="*/ 842030 w 1097482"/>
                    <a:gd name="connsiteY90" fmla="*/ 798144 h 800886"/>
                    <a:gd name="connsiteX91" fmla="*/ 858486 w 1097482"/>
                    <a:gd name="connsiteY91" fmla="*/ 781687 h 800886"/>
                    <a:gd name="connsiteX92" fmla="*/ 858486 w 1097482"/>
                    <a:gd name="connsiteY92" fmla="*/ 658263 h 800886"/>
                    <a:gd name="connsiteX93" fmla="*/ 833801 w 1097482"/>
                    <a:gd name="connsiteY93" fmla="*/ 600665 h 800886"/>
                    <a:gd name="connsiteX94" fmla="*/ 836544 w 1097482"/>
                    <a:gd name="connsiteY94" fmla="*/ 600665 h 800886"/>
                    <a:gd name="connsiteX95" fmla="*/ 850258 w 1097482"/>
                    <a:gd name="connsiteY95" fmla="*/ 595179 h 800886"/>
                    <a:gd name="connsiteX96" fmla="*/ 891399 w 1097482"/>
                    <a:gd name="connsiteY96" fmla="*/ 636321 h 800886"/>
                    <a:gd name="connsiteX97" fmla="*/ 891399 w 1097482"/>
                    <a:gd name="connsiteY97" fmla="*/ 784430 h 800886"/>
                    <a:gd name="connsiteX98" fmla="*/ 907856 w 1097482"/>
                    <a:gd name="connsiteY98" fmla="*/ 800887 h 800886"/>
                    <a:gd name="connsiteX99" fmla="*/ 924313 w 1097482"/>
                    <a:gd name="connsiteY99" fmla="*/ 784430 h 800886"/>
                    <a:gd name="connsiteX100" fmla="*/ 924313 w 1097482"/>
                    <a:gd name="connsiteY100" fmla="*/ 636321 h 800886"/>
                    <a:gd name="connsiteX101" fmla="*/ 965454 w 1097482"/>
                    <a:gd name="connsiteY101" fmla="*/ 595179 h 800886"/>
                    <a:gd name="connsiteX102" fmla="*/ 970940 w 1097482"/>
                    <a:gd name="connsiteY102" fmla="*/ 597922 h 800886"/>
                    <a:gd name="connsiteX103" fmla="*/ 1036766 w 1097482"/>
                    <a:gd name="connsiteY103" fmla="*/ 617122 h 800886"/>
                    <a:gd name="connsiteX104" fmla="*/ 1061451 w 1097482"/>
                    <a:gd name="connsiteY104" fmla="*/ 650035 h 800886"/>
                    <a:gd name="connsiteX105" fmla="*/ 1061451 w 1097482"/>
                    <a:gd name="connsiteY105" fmla="*/ 781687 h 800886"/>
                    <a:gd name="connsiteX106" fmla="*/ 1077907 w 1097482"/>
                    <a:gd name="connsiteY106" fmla="*/ 798144 h 800886"/>
                    <a:gd name="connsiteX107" fmla="*/ 1094364 w 1097482"/>
                    <a:gd name="connsiteY107" fmla="*/ 781687 h 800886"/>
                    <a:gd name="connsiteX108" fmla="*/ 1094364 w 1097482"/>
                    <a:gd name="connsiteY108" fmla="*/ 650035 h 800886"/>
                    <a:gd name="connsiteX109" fmla="*/ 1055965 w 1097482"/>
                    <a:gd name="connsiteY109" fmla="*/ 586951 h 800886"/>
                    <a:gd name="connsiteX110" fmla="*/ 117939 w 1097482"/>
                    <a:gd name="connsiteY110" fmla="*/ 559523 h 800886"/>
                    <a:gd name="connsiteX111" fmla="*/ 65826 w 1097482"/>
                    <a:gd name="connsiteY111" fmla="*/ 526610 h 800886"/>
                    <a:gd name="connsiteX112" fmla="*/ 74055 w 1097482"/>
                    <a:gd name="connsiteY112" fmla="*/ 488212 h 800886"/>
                    <a:gd name="connsiteX113" fmla="*/ 115197 w 1097482"/>
                    <a:gd name="connsiteY113" fmla="*/ 540324 h 800886"/>
                    <a:gd name="connsiteX114" fmla="*/ 115197 w 1097482"/>
                    <a:gd name="connsiteY114" fmla="*/ 559523 h 800886"/>
                    <a:gd name="connsiteX115" fmla="*/ 211193 w 1097482"/>
                    <a:gd name="connsiteY115" fmla="*/ 603408 h 800886"/>
                    <a:gd name="connsiteX116" fmla="*/ 161823 w 1097482"/>
                    <a:gd name="connsiteY116" fmla="*/ 603408 h 800886"/>
                    <a:gd name="connsiteX117" fmla="*/ 148109 w 1097482"/>
                    <a:gd name="connsiteY117" fmla="*/ 589694 h 800886"/>
                    <a:gd name="connsiteX118" fmla="*/ 150852 w 1097482"/>
                    <a:gd name="connsiteY118" fmla="*/ 573237 h 800886"/>
                    <a:gd name="connsiteX119" fmla="*/ 150852 w 1097482"/>
                    <a:gd name="connsiteY119" fmla="*/ 556781 h 800886"/>
                    <a:gd name="connsiteX120" fmla="*/ 186508 w 1097482"/>
                    <a:gd name="connsiteY120" fmla="*/ 562266 h 800886"/>
                    <a:gd name="connsiteX121" fmla="*/ 222164 w 1097482"/>
                    <a:gd name="connsiteY121" fmla="*/ 556781 h 800886"/>
                    <a:gd name="connsiteX122" fmla="*/ 222164 w 1097482"/>
                    <a:gd name="connsiteY122" fmla="*/ 573237 h 800886"/>
                    <a:gd name="connsiteX123" fmla="*/ 224907 w 1097482"/>
                    <a:gd name="connsiteY123" fmla="*/ 589694 h 800886"/>
                    <a:gd name="connsiteX124" fmla="*/ 211193 w 1097482"/>
                    <a:gd name="connsiteY124" fmla="*/ 603408 h 800886"/>
                    <a:gd name="connsiteX125" fmla="*/ 186508 w 1097482"/>
                    <a:gd name="connsiteY125" fmla="*/ 529353 h 800886"/>
                    <a:gd name="connsiteX126" fmla="*/ 101483 w 1097482"/>
                    <a:gd name="connsiteY126" fmla="*/ 444327 h 800886"/>
                    <a:gd name="connsiteX127" fmla="*/ 85026 w 1097482"/>
                    <a:gd name="connsiteY127" fmla="*/ 427871 h 800886"/>
                    <a:gd name="connsiteX128" fmla="*/ 82283 w 1097482"/>
                    <a:gd name="connsiteY128" fmla="*/ 427871 h 800886"/>
                    <a:gd name="connsiteX129" fmla="*/ 82283 w 1097482"/>
                    <a:gd name="connsiteY129" fmla="*/ 425128 h 800886"/>
                    <a:gd name="connsiteX130" fmla="*/ 82283 w 1097482"/>
                    <a:gd name="connsiteY130" fmla="*/ 394958 h 800886"/>
                    <a:gd name="connsiteX131" fmla="*/ 115197 w 1097482"/>
                    <a:gd name="connsiteY131" fmla="*/ 320903 h 800886"/>
                    <a:gd name="connsiteX132" fmla="*/ 186508 w 1097482"/>
                    <a:gd name="connsiteY132" fmla="*/ 290733 h 800886"/>
                    <a:gd name="connsiteX133" fmla="*/ 257820 w 1097482"/>
                    <a:gd name="connsiteY133" fmla="*/ 320903 h 800886"/>
                    <a:gd name="connsiteX134" fmla="*/ 290734 w 1097482"/>
                    <a:gd name="connsiteY134" fmla="*/ 394958 h 800886"/>
                    <a:gd name="connsiteX135" fmla="*/ 290734 w 1097482"/>
                    <a:gd name="connsiteY135" fmla="*/ 425128 h 800886"/>
                    <a:gd name="connsiteX136" fmla="*/ 290734 w 1097482"/>
                    <a:gd name="connsiteY136" fmla="*/ 427871 h 800886"/>
                    <a:gd name="connsiteX137" fmla="*/ 211193 w 1097482"/>
                    <a:gd name="connsiteY137" fmla="*/ 370273 h 800886"/>
                    <a:gd name="connsiteX138" fmla="*/ 150852 w 1097482"/>
                    <a:gd name="connsiteY138" fmla="*/ 359302 h 800886"/>
                    <a:gd name="connsiteX139" fmla="*/ 139881 w 1097482"/>
                    <a:gd name="connsiteY139" fmla="*/ 364787 h 800886"/>
                    <a:gd name="connsiteX140" fmla="*/ 112454 w 1097482"/>
                    <a:gd name="connsiteY140" fmla="*/ 394958 h 800886"/>
                    <a:gd name="connsiteX141" fmla="*/ 112454 w 1097482"/>
                    <a:gd name="connsiteY141" fmla="*/ 416900 h 800886"/>
                    <a:gd name="connsiteX142" fmla="*/ 134395 w 1097482"/>
                    <a:gd name="connsiteY142" fmla="*/ 416900 h 800886"/>
                    <a:gd name="connsiteX143" fmla="*/ 159080 w 1097482"/>
                    <a:gd name="connsiteY143" fmla="*/ 392215 h 800886"/>
                    <a:gd name="connsiteX144" fmla="*/ 271534 w 1097482"/>
                    <a:gd name="connsiteY144" fmla="*/ 458041 h 800886"/>
                    <a:gd name="connsiteX145" fmla="*/ 186508 w 1097482"/>
                    <a:gd name="connsiteY145" fmla="*/ 529353 h 800886"/>
                    <a:gd name="connsiteX146" fmla="*/ 252335 w 1097482"/>
                    <a:gd name="connsiteY146" fmla="*/ 559523 h 800886"/>
                    <a:gd name="connsiteX147" fmla="*/ 252335 w 1097482"/>
                    <a:gd name="connsiteY147" fmla="*/ 540324 h 800886"/>
                    <a:gd name="connsiteX148" fmla="*/ 293476 w 1097482"/>
                    <a:gd name="connsiteY148" fmla="*/ 488212 h 800886"/>
                    <a:gd name="connsiteX149" fmla="*/ 301704 w 1097482"/>
                    <a:gd name="connsiteY149" fmla="*/ 526610 h 800886"/>
                    <a:gd name="connsiteX150" fmla="*/ 252335 w 1097482"/>
                    <a:gd name="connsiteY150" fmla="*/ 559523 h 800886"/>
                    <a:gd name="connsiteX151" fmla="*/ 405929 w 1097482"/>
                    <a:gd name="connsiteY151" fmla="*/ 298961 h 800886"/>
                    <a:gd name="connsiteX152" fmla="*/ 405929 w 1097482"/>
                    <a:gd name="connsiteY152" fmla="*/ 260562 h 800886"/>
                    <a:gd name="connsiteX153" fmla="*/ 403187 w 1097482"/>
                    <a:gd name="connsiteY153" fmla="*/ 252334 h 800886"/>
                    <a:gd name="connsiteX154" fmla="*/ 386730 w 1097482"/>
                    <a:gd name="connsiteY154" fmla="*/ 186508 h 800886"/>
                    <a:gd name="connsiteX155" fmla="*/ 386730 w 1097482"/>
                    <a:gd name="connsiteY155" fmla="*/ 153595 h 800886"/>
                    <a:gd name="connsiteX156" fmla="*/ 507412 w 1097482"/>
                    <a:gd name="connsiteY156" fmla="*/ 32913 h 800886"/>
                    <a:gd name="connsiteX157" fmla="*/ 729576 w 1097482"/>
                    <a:gd name="connsiteY157" fmla="*/ 32913 h 800886"/>
                    <a:gd name="connsiteX158" fmla="*/ 729576 w 1097482"/>
                    <a:gd name="connsiteY158" fmla="*/ 186508 h 800886"/>
                    <a:gd name="connsiteX159" fmla="*/ 713120 w 1097482"/>
                    <a:gd name="connsiteY159" fmla="*/ 252334 h 800886"/>
                    <a:gd name="connsiteX160" fmla="*/ 710377 w 1097482"/>
                    <a:gd name="connsiteY160" fmla="*/ 260562 h 800886"/>
                    <a:gd name="connsiteX161" fmla="*/ 710377 w 1097482"/>
                    <a:gd name="connsiteY161" fmla="*/ 307189 h 800886"/>
                    <a:gd name="connsiteX162" fmla="*/ 661007 w 1097482"/>
                    <a:gd name="connsiteY162" fmla="*/ 419643 h 800886"/>
                    <a:gd name="connsiteX163" fmla="*/ 650036 w 1097482"/>
                    <a:gd name="connsiteY163" fmla="*/ 430614 h 800886"/>
                    <a:gd name="connsiteX164" fmla="*/ 650036 w 1097482"/>
                    <a:gd name="connsiteY164" fmla="*/ 430614 h 800886"/>
                    <a:gd name="connsiteX165" fmla="*/ 545811 w 1097482"/>
                    <a:gd name="connsiteY165" fmla="*/ 460784 h 800886"/>
                    <a:gd name="connsiteX166" fmla="*/ 405929 w 1097482"/>
                    <a:gd name="connsiteY166" fmla="*/ 298961 h 800886"/>
                    <a:gd name="connsiteX167" fmla="*/ 496441 w 1097482"/>
                    <a:gd name="connsiteY167" fmla="*/ 619864 h 800886"/>
                    <a:gd name="connsiteX168" fmla="*/ 496441 w 1097482"/>
                    <a:gd name="connsiteY168" fmla="*/ 619864 h 800886"/>
                    <a:gd name="connsiteX169" fmla="*/ 496441 w 1097482"/>
                    <a:gd name="connsiteY169" fmla="*/ 619864 h 800886"/>
                    <a:gd name="connsiteX170" fmla="*/ 444329 w 1097482"/>
                    <a:gd name="connsiteY170" fmla="*/ 545810 h 800886"/>
                    <a:gd name="connsiteX171" fmla="*/ 460785 w 1097482"/>
                    <a:gd name="connsiteY171" fmla="*/ 529353 h 800886"/>
                    <a:gd name="connsiteX172" fmla="*/ 534840 w 1097482"/>
                    <a:gd name="connsiteY172" fmla="*/ 581466 h 800886"/>
                    <a:gd name="connsiteX173" fmla="*/ 496441 w 1097482"/>
                    <a:gd name="connsiteY173" fmla="*/ 619864 h 800886"/>
                    <a:gd name="connsiteX174" fmla="*/ 559524 w 1097482"/>
                    <a:gd name="connsiteY174" fmla="*/ 559523 h 800886"/>
                    <a:gd name="connsiteX175" fmla="*/ 474498 w 1097482"/>
                    <a:gd name="connsiteY175" fmla="*/ 499183 h 800886"/>
                    <a:gd name="connsiteX176" fmla="*/ 474498 w 1097482"/>
                    <a:gd name="connsiteY176" fmla="*/ 469013 h 800886"/>
                    <a:gd name="connsiteX177" fmla="*/ 548553 w 1097482"/>
                    <a:gd name="connsiteY177" fmla="*/ 490954 h 800886"/>
                    <a:gd name="connsiteX178" fmla="*/ 562267 w 1097482"/>
                    <a:gd name="connsiteY178" fmla="*/ 490954 h 800886"/>
                    <a:gd name="connsiteX179" fmla="*/ 647293 w 1097482"/>
                    <a:gd name="connsiteY179" fmla="*/ 469013 h 800886"/>
                    <a:gd name="connsiteX180" fmla="*/ 647293 w 1097482"/>
                    <a:gd name="connsiteY180" fmla="*/ 499183 h 800886"/>
                    <a:gd name="connsiteX181" fmla="*/ 559524 w 1097482"/>
                    <a:gd name="connsiteY181" fmla="*/ 559523 h 800886"/>
                    <a:gd name="connsiteX182" fmla="*/ 628094 w 1097482"/>
                    <a:gd name="connsiteY182" fmla="*/ 619864 h 800886"/>
                    <a:gd name="connsiteX183" fmla="*/ 628094 w 1097482"/>
                    <a:gd name="connsiteY183" fmla="*/ 619864 h 800886"/>
                    <a:gd name="connsiteX184" fmla="*/ 628094 w 1097482"/>
                    <a:gd name="connsiteY184" fmla="*/ 619864 h 800886"/>
                    <a:gd name="connsiteX185" fmla="*/ 586952 w 1097482"/>
                    <a:gd name="connsiteY185" fmla="*/ 581466 h 800886"/>
                    <a:gd name="connsiteX186" fmla="*/ 661007 w 1097482"/>
                    <a:gd name="connsiteY186" fmla="*/ 529353 h 800886"/>
                    <a:gd name="connsiteX187" fmla="*/ 677464 w 1097482"/>
                    <a:gd name="connsiteY187" fmla="*/ 545810 h 800886"/>
                    <a:gd name="connsiteX188" fmla="*/ 628094 w 1097482"/>
                    <a:gd name="connsiteY188" fmla="*/ 619864 h 800886"/>
                    <a:gd name="connsiteX189" fmla="*/ 918827 w 1097482"/>
                    <a:gd name="connsiteY189" fmla="*/ 606151 h 800886"/>
                    <a:gd name="connsiteX190" fmla="*/ 883171 w 1097482"/>
                    <a:gd name="connsiteY190" fmla="*/ 570495 h 800886"/>
                    <a:gd name="connsiteX191" fmla="*/ 883171 w 1097482"/>
                    <a:gd name="connsiteY191" fmla="*/ 562266 h 800886"/>
                    <a:gd name="connsiteX192" fmla="*/ 883171 w 1097482"/>
                    <a:gd name="connsiteY192" fmla="*/ 556781 h 800886"/>
                    <a:gd name="connsiteX193" fmla="*/ 916084 w 1097482"/>
                    <a:gd name="connsiteY193" fmla="*/ 562266 h 800886"/>
                    <a:gd name="connsiteX194" fmla="*/ 918827 w 1097482"/>
                    <a:gd name="connsiteY194" fmla="*/ 562266 h 800886"/>
                    <a:gd name="connsiteX195" fmla="*/ 954483 w 1097482"/>
                    <a:gd name="connsiteY195" fmla="*/ 556781 h 800886"/>
                    <a:gd name="connsiteX196" fmla="*/ 954483 w 1097482"/>
                    <a:gd name="connsiteY196" fmla="*/ 562266 h 800886"/>
                    <a:gd name="connsiteX197" fmla="*/ 954483 w 1097482"/>
                    <a:gd name="connsiteY197" fmla="*/ 570495 h 800886"/>
                    <a:gd name="connsiteX198" fmla="*/ 918827 w 1097482"/>
                    <a:gd name="connsiteY198" fmla="*/ 606151 h 800886"/>
                    <a:gd name="connsiteX199" fmla="*/ 979168 w 1097482"/>
                    <a:gd name="connsiteY199" fmla="*/ 504668 h 800886"/>
                    <a:gd name="connsiteX200" fmla="*/ 916084 w 1097482"/>
                    <a:gd name="connsiteY200" fmla="*/ 529353 h 800886"/>
                    <a:gd name="connsiteX201" fmla="*/ 831058 w 1097482"/>
                    <a:gd name="connsiteY201" fmla="*/ 438842 h 800886"/>
                    <a:gd name="connsiteX202" fmla="*/ 831058 w 1097482"/>
                    <a:gd name="connsiteY202" fmla="*/ 408671 h 800886"/>
                    <a:gd name="connsiteX203" fmla="*/ 828316 w 1097482"/>
                    <a:gd name="connsiteY203" fmla="*/ 400443 h 800886"/>
                    <a:gd name="connsiteX204" fmla="*/ 817344 w 1097482"/>
                    <a:gd name="connsiteY204" fmla="*/ 381244 h 800886"/>
                    <a:gd name="connsiteX205" fmla="*/ 811859 w 1097482"/>
                    <a:gd name="connsiteY205" fmla="*/ 356559 h 800886"/>
                    <a:gd name="connsiteX206" fmla="*/ 811859 w 1097482"/>
                    <a:gd name="connsiteY206" fmla="*/ 356559 h 800886"/>
                    <a:gd name="connsiteX207" fmla="*/ 880429 w 1097482"/>
                    <a:gd name="connsiteY207" fmla="*/ 287990 h 800886"/>
                    <a:gd name="connsiteX208" fmla="*/ 1017567 w 1097482"/>
                    <a:gd name="connsiteY208" fmla="*/ 287990 h 800886"/>
                    <a:gd name="connsiteX209" fmla="*/ 1017567 w 1097482"/>
                    <a:gd name="connsiteY209" fmla="*/ 353816 h 800886"/>
                    <a:gd name="connsiteX210" fmla="*/ 1009338 w 1097482"/>
                    <a:gd name="connsiteY210" fmla="*/ 383987 h 800886"/>
                    <a:gd name="connsiteX211" fmla="*/ 1001110 w 1097482"/>
                    <a:gd name="connsiteY211" fmla="*/ 400443 h 800886"/>
                    <a:gd name="connsiteX212" fmla="*/ 998367 w 1097482"/>
                    <a:gd name="connsiteY212" fmla="*/ 408671 h 800886"/>
                    <a:gd name="connsiteX213" fmla="*/ 998367 w 1097482"/>
                    <a:gd name="connsiteY213" fmla="*/ 441585 h 800886"/>
                    <a:gd name="connsiteX214" fmla="*/ 979168 w 1097482"/>
                    <a:gd name="connsiteY214" fmla="*/ 504668 h 80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1097482" h="800886">
                      <a:moveTo>
                        <a:pt x="1055965" y="586951"/>
                      </a:moveTo>
                      <a:lnTo>
                        <a:pt x="990139" y="567752"/>
                      </a:lnTo>
                      <a:cubicBezTo>
                        <a:pt x="987396" y="567752"/>
                        <a:pt x="984653" y="565009"/>
                        <a:pt x="984653" y="562266"/>
                      </a:cubicBezTo>
                      <a:lnTo>
                        <a:pt x="984653" y="540324"/>
                      </a:lnTo>
                      <a:cubicBezTo>
                        <a:pt x="990139" y="537582"/>
                        <a:pt x="995624" y="532096"/>
                        <a:pt x="1001110" y="526610"/>
                      </a:cubicBezTo>
                      <a:cubicBezTo>
                        <a:pt x="1023052" y="504668"/>
                        <a:pt x="1036766" y="474498"/>
                        <a:pt x="1036766" y="441585"/>
                      </a:cubicBezTo>
                      <a:lnTo>
                        <a:pt x="1036766" y="411414"/>
                      </a:lnTo>
                      <a:lnTo>
                        <a:pt x="1042252" y="397701"/>
                      </a:lnTo>
                      <a:cubicBezTo>
                        <a:pt x="1050480" y="383987"/>
                        <a:pt x="1053223" y="367530"/>
                        <a:pt x="1053223" y="353816"/>
                      </a:cubicBezTo>
                      <a:lnTo>
                        <a:pt x="1053223" y="271533"/>
                      </a:lnTo>
                      <a:cubicBezTo>
                        <a:pt x="1053223" y="263305"/>
                        <a:pt x="1044995" y="255077"/>
                        <a:pt x="1036766" y="255077"/>
                      </a:cubicBezTo>
                      <a:lnTo>
                        <a:pt x="883171" y="255077"/>
                      </a:lnTo>
                      <a:cubicBezTo>
                        <a:pt x="828316" y="255077"/>
                        <a:pt x="781689" y="301704"/>
                        <a:pt x="781689" y="356559"/>
                      </a:cubicBezTo>
                      <a:lnTo>
                        <a:pt x="781689" y="356559"/>
                      </a:lnTo>
                      <a:cubicBezTo>
                        <a:pt x="781689" y="370273"/>
                        <a:pt x="784432" y="381244"/>
                        <a:pt x="789917" y="394958"/>
                      </a:cubicBezTo>
                      <a:lnTo>
                        <a:pt x="798145" y="411414"/>
                      </a:lnTo>
                      <a:lnTo>
                        <a:pt x="798145" y="436099"/>
                      </a:lnTo>
                      <a:cubicBezTo>
                        <a:pt x="798145" y="477240"/>
                        <a:pt x="817344" y="515639"/>
                        <a:pt x="850258" y="537582"/>
                      </a:cubicBezTo>
                      <a:lnTo>
                        <a:pt x="850258" y="559523"/>
                      </a:lnTo>
                      <a:cubicBezTo>
                        <a:pt x="850258" y="562266"/>
                        <a:pt x="850258" y="565009"/>
                        <a:pt x="836544" y="567752"/>
                      </a:cubicBezTo>
                      <a:lnTo>
                        <a:pt x="803631" y="575980"/>
                      </a:lnTo>
                      <a:lnTo>
                        <a:pt x="710377" y="543067"/>
                      </a:lnTo>
                      <a:cubicBezTo>
                        <a:pt x="710377" y="537582"/>
                        <a:pt x="710377" y="534839"/>
                        <a:pt x="704892" y="532096"/>
                      </a:cubicBezTo>
                      <a:lnTo>
                        <a:pt x="674721" y="501926"/>
                      </a:lnTo>
                      <a:lnTo>
                        <a:pt x="674721" y="449813"/>
                      </a:lnTo>
                      <a:cubicBezTo>
                        <a:pt x="677464" y="447070"/>
                        <a:pt x="680206" y="444327"/>
                        <a:pt x="682949" y="441585"/>
                      </a:cubicBezTo>
                      <a:cubicBezTo>
                        <a:pt x="721348" y="405929"/>
                        <a:pt x="740547" y="356559"/>
                        <a:pt x="740547" y="304447"/>
                      </a:cubicBezTo>
                      <a:lnTo>
                        <a:pt x="740547" y="263305"/>
                      </a:lnTo>
                      <a:cubicBezTo>
                        <a:pt x="751518" y="238620"/>
                        <a:pt x="757004" y="213936"/>
                        <a:pt x="757004" y="186508"/>
                      </a:cubicBezTo>
                      <a:lnTo>
                        <a:pt x="757004" y="16457"/>
                      </a:lnTo>
                      <a:cubicBezTo>
                        <a:pt x="757004" y="8228"/>
                        <a:pt x="748775" y="0"/>
                        <a:pt x="740547" y="0"/>
                      </a:cubicBezTo>
                      <a:lnTo>
                        <a:pt x="501926" y="0"/>
                      </a:lnTo>
                      <a:cubicBezTo>
                        <a:pt x="416901" y="0"/>
                        <a:pt x="348332" y="68569"/>
                        <a:pt x="348332" y="153595"/>
                      </a:cubicBezTo>
                      <a:lnTo>
                        <a:pt x="348332" y="186508"/>
                      </a:lnTo>
                      <a:cubicBezTo>
                        <a:pt x="348332" y="213936"/>
                        <a:pt x="353817" y="238620"/>
                        <a:pt x="364788" y="263305"/>
                      </a:cubicBezTo>
                      <a:lnTo>
                        <a:pt x="364788" y="298961"/>
                      </a:lnTo>
                      <a:cubicBezTo>
                        <a:pt x="364788" y="359302"/>
                        <a:pt x="392215" y="411414"/>
                        <a:pt x="433357" y="447070"/>
                      </a:cubicBezTo>
                      <a:lnTo>
                        <a:pt x="433357" y="501926"/>
                      </a:lnTo>
                      <a:lnTo>
                        <a:pt x="403187" y="532096"/>
                      </a:lnTo>
                      <a:cubicBezTo>
                        <a:pt x="400444" y="534839"/>
                        <a:pt x="397701" y="540324"/>
                        <a:pt x="397701" y="543067"/>
                      </a:cubicBezTo>
                      <a:lnTo>
                        <a:pt x="298961" y="578723"/>
                      </a:lnTo>
                      <a:cubicBezTo>
                        <a:pt x="290734" y="581466"/>
                        <a:pt x="285248" y="584208"/>
                        <a:pt x="279763" y="589694"/>
                      </a:cubicBezTo>
                      <a:lnTo>
                        <a:pt x="263306" y="581466"/>
                      </a:lnTo>
                      <a:cubicBezTo>
                        <a:pt x="309932" y="562266"/>
                        <a:pt x="323646" y="532096"/>
                        <a:pt x="323646" y="532096"/>
                      </a:cubicBezTo>
                      <a:cubicBezTo>
                        <a:pt x="326389" y="526610"/>
                        <a:pt x="326389" y="521125"/>
                        <a:pt x="323646" y="518382"/>
                      </a:cubicBezTo>
                      <a:cubicBezTo>
                        <a:pt x="312675" y="496440"/>
                        <a:pt x="309932" y="452556"/>
                        <a:pt x="309932" y="419643"/>
                      </a:cubicBezTo>
                      <a:cubicBezTo>
                        <a:pt x="309932" y="408671"/>
                        <a:pt x="309932" y="397701"/>
                        <a:pt x="307190" y="389472"/>
                      </a:cubicBezTo>
                      <a:cubicBezTo>
                        <a:pt x="301704" y="312675"/>
                        <a:pt x="244106" y="255077"/>
                        <a:pt x="172794" y="255077"/>
                      </a:cubicBezTo>
                      <a:cubicBezTo>
                        <a:pt x="101483" y="255077"/>
                        <a:pt x="43884" y="312675"/>
                        <a:pt x="38399" y="389472"/>
                      </a:cubicBezTo>
                      <a:cubicBezTo>
                        <a:pt x="38399" y="397701"/>
                        <a:pt x="38399" y="408671"/>
                        <a:pt x="35656" y="419643"/>
                      </a:cubicBezTo>
                      <a:cubicBezTo>
                        <a:pt x="35656" y="452556"/>
                        <a:pt x="32914" y="496440"/>
                        <a:pt x="21942" y="518382"/>
                      </a:cubicBezTo>
                      <a:cubicBezTo>
                        <a:pt x="19200" y="523868"/>
                        <a:pt x="19200" y="529353"/>
                        <a:pt x="21942" y="532096"/>
                      </a:cubicBezTo>
                      <a:cubicBezTo>
                        <a:pt x="21942" y="534839"/>
                        <a:pt x="38399" y="562266"/>
                        <a:pt x="82283" y="581466"/>
                      </a:cubicBezTo>
                      <a:lnTo>
                        <a:pt x="38399" y="603408"/>
                      </a:lnTo>
                      <a:cubicBezTo>
                        <a:pt x="16457" y="614379"/>
                        <a:pt x="0" y="639064"/>
                        <a:pt x="0" y="663748"/>
                      </a:cubicBezTo>
                      <a:lnTo>
                        <a:pt x="0" y="781687"/>
                      </a:lnTo>
                      <a:cubicBezTo>
                        <a:pt x="0" y="789916"/>
                        <a:pt x="8228" y="798144"/>
                        <a:pt x="16457" y="798144"/>
                      </a:cubicBezTo>
                      <a:cubicBezTo>
                        <a:pt x="24685" y="798144"/>
                        <a:pt x="32914" y="789916"/>
                        <a:pt x="32914" y="781687"/>
                      </a:cubicBezTo>
                      <a:lnTo>
                        <a:pt x="32914" y="663748"/>
                      </a:lnTo>
                      <a:cubicBezTo>
                        <a:pt x="32914" y="650035"/>
                        <a:pt x="41142" y="639064"/>
                        <a:pt x="52112" y="633578"/>
                      </a:cubicBezTo>
                      <a:lnTo>
                        <a:pt x="104225" y="606151"/>
                      </a:lnTo>
                      <a:lnTo>
                        <a:pt x="123425" y="622607"/>
                      </a:lnTo>
                      <a:cubicBezTo>
                        <a:pt x="137138" y="633578"/>
                        <a:pt x="153595" y="641806"/>
                        <a:pt x="170052" y="641806"/>
                      </a:cubicBezTo>
                      <a:cubicBezTo>
                        <a:pt x="186508" y="641806"/>
                        <a:pt x="202965" y="636321"/>
                        <a:pt x="216678" y="622607"/>
                      </a:cubicBezTo>
                      <a:lnTo>
                        <a:pt x="235878" y="606151"/>
                      </a:lnTo>
                      <a:lnTo>
                        <a:pt x="252335" y="614379"/>
                      </a:lnTo>
                      <a:cubicBezTo>
                        <a:pt x="244106" y="628092"/>
                        <a:pt x="238621" y="641806"/>
                        <a:pt x="238621" y="658263"/>
                      </a:cubicBezTo>
                      <a:lnTo>
                        <a:pt x="238621" y="781687"/>
                      </a:lnTo>
                      <a:cubicBezTo>
                        <a:pt x="238621" y="789916"/>
                        <a:pt x="246849" y="798144"/>
                        <a:pt x="255077" y="798144"/>
                      </a:cubicBezTo>
                      <a:cubicBezTo>
                        <a:pt x="263306" y="798144"/>
                        <a:pt x="271534" y="789916"/>
                        <a:pt x="271534" y="781687"/>
                      </a:cubicBezTo>
                      <a:lnTo>
                        <a:pt x="271534" y="658263"/>
                      </a:lnTo>
                      <a:cubicBezTo>
                        <a:pt x="271534" y="636321"/>
                        <a:pt x="285248" y="617122"/>
                        <a:pt x="307190" y="608893"/>
                      </a:cubicBezTo>
                      <a:lnTo>
                        <a:pt x="411415" y="570495"/>
                      </a:lnTo>
                      <a:lnTo>
                        <a:pt x="455300" y="636321"/>
                      </a:lnTo>
                      <a:cubicBezTo>
                        <a:pt x="460785" y="644549"/>
                        <a:pt x="469013" y="650035"/>
                        <a:pt x="479984" y="650035"/>
                      </a:cubicBezTo>
                      <a:cubicBezTo>
                        <a:pt x="479984" y="650035"/>
                        <a:pt x="482727" y="650035"/>
                        <a:pt x="482727" y="650035"/>
                      </a:cubicBezTo>
                      <a:cubicBezTo>
                        <a:pt x="490955" y="650035"/>
                        <a:pt x="499184" y="647292"/>
                        <a:pt x="504669" y="639064"/>
                      </a:cubicBezTo>
                      <a:lnTo>
                        <a:pt x="532097" y="611636"/>
                      </a:lnTo>
                      <a:lnTo>
                        <a:pt x="532097" y="778944"/>
                      </a:lnTo>
                      <a:cubicBezTo>
                        <a:pt x="532097" y="787173"/>
                        <a:pt x="540326" y="795401"/>
                        <a:pt x="548553" y="795401"/>
                      </a:cubicBezTo>
                      <a:cubicBezTo>
                        <a:pt x="556781" y="795401"/>
                        <a:pt x="565010" y="787173"/>
                        <a:pt x="565010" y="778944"/>
                      </a:cubicBezTo>
                      <a:lnTo>
                        <a:pt x="565010" y="611636"/>
                      </a:lnTo>
                      <a:lnTo>
                        <a:pt x="592438" y="639064"/>
                      </a:lnTo>
                      <a:cubicBezTo>
                        <a:pt x="597923" y="644549"/>
                        <a:pt x="606152" y="650035"/>
                        <a:pt x="614380" y="650035"/>
                      </a:cubicBezTo>
                      <a:cubicBezTo>
                        <a:pt x="614380" y="650035"/>
                        <a:pt x="617123" y="650035"/>
                        <a:pt x="617123" y="650035"/>
                      </a:cubicBezTo>
                      <a:cubicBezTo>
                        <a:pt x="628094" y="650035"/>
                        <a:pt x="636322" y="644549"/>
                        <a:pt x="641807" y="636321"/>
                      </a:cubicBezTo>
                      <a:lnTo>
                        <a:pt x="685692" y="570495"/>
                      </a:lnTo>
                      <a:lnTo>
                        <a:pt x="789917" y="608893"/>
                      </a:lnTo>
                      <a:cubicBezTo>
                        <a:pt x="809116" y="617122"/>
                        <a:pt x="825573" y="636321"/>
                        <a:pt x="825573" y="658263"/>
                      </a:cubicBezTo>
                      <a:lnTo>
                        <a:pt x="825573" y="781687"/>
                      </a:lnTo>
                      <a:cubicBezTo>
                        <a:pt x="825573" y="789916"/>
                        <a:pt x="833801" y="798144"/>
                        <a:pt x="842030" y="798144"/>
                      </a:cubicBezTo>
                      <a:cubicBezTo>
                        <a:pt x="850258" y="798144"/>
                        <a:pt x="858486" y="789916"/>
                        <a:pt x="858486" y="781687"/>
                      </a:cubicBezTo>
                      <a:lnTo>
                        <a:pt x="858486" y="658263"/>
                      </a:lnTo>
                      <a:cubicBezTo>
                        <a:pt x="858486" y="636321"/>
                        <a:pt x="850258" y="614379"/>
                        <a:pt x="833801" y="600665"/>
                      </a:cubicBezTo>
                      <a:lnTo>
                        <a:pt x="836544" y="600665"/>
                      </a:lnTo>
                      <a:cubicBezTo>
                        <a:pt x="839287" y="600665"/>
                        <a:pt x="844772" y="597922"/>
                        <a:pt x="850258" y="595179"/>
                      </a:cubicBezTo>
                      <a:lnTo>
                        <a:pt x="891399" y="636321"/>
                      </a:lnTo>
                      <a:lnTo>
                        <a:pt x="891399" y="784430"/>
                      </a:lnTo>
                      <a:cubicBezTo>
                        <a:pt x="891399" y="792658"/>
                        <a:pt x="899627" y="800887"/>
                        <a:pt x="907856" y="800887"/>
                      </a:cubicBezTo>
                      <a:cubicBezTo>
                        <a:pt x="916084" y="800887"/>
                        <a:pt x="924313" y="792658"/>
                        <a:pt x="924313" y="784430"/>
                      </a:cubicBezTo>
                      <a:lnTo>
                        <a:pt x="924313" y="636321"/>
                      </a:lnTo>
                      <a:lnTo>
                        <a:pt x="965454" y="595179"/>
                      </a:lnTo>
                      <a:cubicBezTo>
                        <a:pt x="968197" y="595179"/>
                        <a:pt x="970940" y="597922"/>
                        <a:pt x="970940" y="597922"/>
                      </a:cubicBezTo>
                      <a:lnTo>
                        <a:pt x="1036766" y="617122"/>
                      </a:lnTo>
                      <a:cubicBezTo>
                        <a:pt x="1050480" y="622607"/>
                        <a:pt x="1061451" y="636321"/>
                        <a:pt x="1061451" y="650035"/>
                      </a:cubicBezTo>
                      <a:lnTo>
                        <a:pt x="1061451" y="781687"/>
                      </a:lnTo>
                      <a:cubicBezTo>
                        <a:pt x="1061451" y="789916"/>
                        <a:pt x="1069679" y="798144"/>
                        <a:pt x="1077907" y="798144"/>
                      </a:cubicBezTo>
                      <a:cubicBezTo>
                        <a:pt x="1086136" y="798144"/>
                        <a:pt x="1094364" y="789916"/>
                        <a:pt x="1094364" y="781687"/>
                      </a:cubicBezTo>
                      <a:lnTo>
                        <a:pt x="1094364" y="650035"/>
                      </a:lnTo>
                      <a:cubicBezTo>
                        <a:pt x="1105335" y="622607"/>
                        <a:pt x="1086136" y="595179"/>
                        <a:pt x="1055965" y="586951"/>
                      </a:cubicBezTo>
                      <a:close/>
                      <a:moveTo>
                        <a:pt x="117939" y="559523"/>
                      </a:moveTo>
                      <a:cubicBezTo>
                        <a:pt x="87769" y="548552"/>
                        <a:pt x="74055" y="534839"/>
                        <a:pt x="65826" y="526610"/>
                      </a:cubicBezTo>
                      <a:cubicBezTo>
                        <a:pt x="71312" y="515639"/>
                        <a:pt x="74055" y="501926"/>
                        <a:pt x="74055" y="488212"/>
                      </a:cubicBezTo>
                      <a:cubicBezTo>
                        <a:pt x="82283" y="510154"/>
                        <a:pt x="98740" y="526610"/>
                        <a:pt x="115197" y="540324"/>
                      </a:cubicBezTo>
                      <a:lnTo>
                        <a:pt x="115197" y="559523"/>
                      </a:lnTo>
                      <a:close/>
                      <a:moveTo>
                        <a:pt x="211193" y="603408"/>
                      </a:moveTo>
                      <a:cubicBezTo>
                        <a:pt x="197480" y="617122"/>
                        <a:pt x="175537" y="617122"/>
                        <a:pt x="161823" y="603408"/>
                      </a:cubicBezTo>
                      <a:lnTo>
                        <a:pt x="148109" y="589694"/>
                      </a:lnTo>
                      <a:cubicBezTo>
                        <a:pt x="150852" y="584208"/>
                        <a:pt x="150852" y="578723"/>
                        <a:pt x="150852" y="573237"/>
                      </a:cubicBezTo>
                      <a:lnTo>
                        <a:pt x="150852" y="556781"/>
                      </a:lnTo>
                      <a:cubicBezTo>
                        <a:pt x="161823" y="559523"/>
                        <a:pt x="172794" y="562266"/>
                        <a:pt x="186508" y="562266"/>
                      </a:cubicBezTo>
                      <a:cubicBezTo>
                        <a:pt x="197480" y="562266"/>
                        <a:pt x="211193" y="559523"/>
                        <a:pt x="222164" y="556781"/>
                      </a:cubicBezTo>
                      <a:lnTo>
                        <a:pt x="222164" y="573237"/>
                      </a:lnTo>
                      <a:cubicBezTo>
                        <a:pt x="222164" y="578723"/>
                        <a:pt x="224907" y="584208"/>
                        <a:pt x="224907" y="589694"/>
                      </a:cubicBezTo>
                      <a:lnTo>
                        <a:pt x="211193" y="603408"/>
                      </a:lnTo>
                      <a:close/>
                      <a:moveTo>
                        <a:pt x="186508" y="529353"/>
                      </a:moveTo>
                      <a:cubicBezTo>
                        <a:pt x="139881" y="529353"/>
                        <a:pt x="101483" y="490954"/>
                        <a:pt x="101483" y="444327"/>
                      </a:cubicBezTo>
                      <a:cubicBezTo>
                        <a:pt x="101483" y="436099"/>
                        <a:pt x="93254" y="427871"/>
                        <a:pt x="85026" y="427871"/>
                      </a:cubicBezTo>
                      <a:cubicBezTo>
                        <a:pt x="85026" y="427871"/>
                        <a:pt x="82283" y="427871"/>
                        <a:pt x="82283" y="427871"/>
                      </a:cubicBezTo>
                      <a:cubicBezTo>
                        <a:pt x="82283" y="427871"/>
                        <a:pt x="82283" y="425128"/>
                        <a:pt x="82283" y="425128"/>
                      </a:cubicBezTo>
                      <a:cubicBezTo>
                        <a:pt x="82283" y="414157"/>
                        <a:pt x="82283" y="403186"/>
                        <a:pt x="82283" y="394958"/>
                      </a:cubicBezTo>
                      <a:cubicBezTo>
                        <a:pt x="85026" y="367530"/>
                        <a:pt x="95997" y="340102"/>
                        <a:pt x="115197" y="320903"/>
                      </a:cubicBezTo>
                      <a:cubicBezTo>
                        <a:pt x="134395" y="301704"/>
                        <a:pt x="159080" y="290733"/>
                        <a:pt x="186508" y="290733"/>
                      </a:cubicBezTo>
                      <a:cubicBezTo>
                        <a:pt x="213936" y="290733"/>
                        <a:pt x="238621" y="301704"/>
                        <a:pt x="257820" y="320903"/>
                      </a:cubicBezTo>
                      <a:cubicBezTo>
                        <a:pt x="277020" y="340102"/>
                        <a:pt x="287991" y="367530"/>
                        <a:pt x="290734" y="394958"/>
                      </a:cubicBezTo>
                      <a:cubicBezTo>
                        <a:pt x="290734" y="403186"/>
                        <a:pt x="290734" y="414157"/>
                        <a:pt x="290734" y="425128"/>
                      </a:cubicBezTo>
                      <a:cubicBezTo>
                        <a:pt x="290734" y="425128"/>
                        <a:pt x="290734" y="427871"/>
                        <a:pt x="290734" y="427871"/>
                      </a:cubicBezTo>
                      <a:cubicBezTo>
                        <a:pt x="274277" y="400443"/>
                        <a:pt x="246849" y="381244"/>
                        <a:pt x="211193" y="370273"/>
                      </a:cubicBezTo>
                      <a:cubicBezTo>
                        <a:pt x="178280" y="359302"/>
                        <a:pt x="150852" y="359302"/>
                        <a:pt x="150852" y="359302"/>
                      </a:cubicBezTo>
                      <a:cubicBezTo>
                        <a:pt x="145366" y="359302"/>
                        <a:pt x="142624" y="362045"/>
                        <a:pt x="139881" y="364787"/>
                      </a:cubicBezTo>
                      <a:lnTo>
                        <a:pt x="112454" y="394958"/>
                      </a:lnTo>
                      <a:cubicBezTo>
                        <a:pt x="106968" y="400443"/>
                        <a:pt x="106968" y="411414"/>
                        <a:pt x="112454" y="416900"/>
                      </a:cubicBezTo>
                      <a:cubicBezTo>
                        <a:pt x="117939" y="422385"/>
                        <a:pt x="128910" y="422385"/>
                        <a:pt x="134395" y="416900"/>
                      </a:cubicBezTo>
                      <a:lnTo>
                        <a:pt x="159080" y="392215"/>
                      </a:lnTo>
                      <a:cubicBezTo>
                        <a:pt x="181023" y="392215"/>
                        <a:pt x="246849" y="400443"/>
                        <a:pt x="271534" y="458041"/>
                      </a:cubicBezTo>
                      <a:cubicBezTo>
                        <a:pt x="263306" y="496440"/>
                        <a:pt x="227649" y="529353"/>
                        <a:pt x="186508" y="529353"/>
                      </a:cubicBezTo>
                      <a:close/>
                      <a:moveTo>
                        <a:pt x="252335" y="559523"/>
                      </a:moveTo>
                      <a:lnTo>
                        <a:pt x="252335" y="540324"/>
                      </a:lnTo>
                      <a:cubicBezTo>
                        <a:pt x="271534" y="526610"/>
                        <a:pt x="285248" y="510154"/>
                        <a:pt x="293476" y="488212"/>
                      </a:cubicBezTo>
                      <a:cubicBezTo>
                        <a:pt x="296219" y="501926"/>
                        <a:pt x="298961" y="515639"/>
                        <a:pt x="301704" y="526610"/>
                      </a:cubicBezTo>
                      <a:cubicBezTo>
                        <a:pt x="298961" y="534839"/>
                        <a:pt x="282505" y="548552"/>
                        <a:pt x="252335" y="559523"/>
                      </a:cubicBezTo>
                      <a:close/>
                      <a:moveTo>
                        <a:pt x="405929" y="298961"/>
                      </a:moveTo>
                      <a:lnTo>
                        <a:pt x="405929" y="260562"/>
                      </a:lnTo>
                      <a:cubicBezTo>
                        <a:pt x="405929" y="257819"/>
                        <a:pt x="405929" y="255077"/>
                        <a:pt x="403187" y="252334"/>
                      </a:cubicBezTo>
                      <a:cubicBezTo>
                        <a:pt x="392215" y="230392"/>
                        <a:pt x="386730" y="208450"/>
                        <a:pt x="386730" y="186508"/>
                      </a:cubicBezTo>
                      <a:lnTo>
                        <a:pt x="386730" y="153595"/>
                      </a:lnTo>
                      <a:cubicBezTo>
                        <a:pt x="386730" y="87768"/>
                        <a:pt x="441586" y="32913"/>
                        <a:pt x="507412" y="32913"/>
                      </a:cubicBezTo>
                      <a:lnTo>
                        <a:pt x="729576" y="32913"/>
                      </a:lnTo>
                      <a:lnTo>
                        <a:pt x="729576" y="186508"/>
                      </a:lnTo>
                      <a:cubicBezTo>
                        <a:pt x="729576" y="208450"/>
                        <a:pt x="724090" y="233135"/>
                        <a:pt x="713120" y="252334"/>
                      </a:cubicBezTo>
                      <a:cubicBezTo>
                        <a:pt x="713120" y="255077"/>
                        <a:pt x="710377" y="257819"/>
                        <a:pt x="710377" y="260562"/>
                      </a:cubicBezTo>
                      <a:lnTo>
                        <a:pt x="710377" y="307189"/>
                      </a:lnTo>
                      <a:cubicBezTo>
                        <a:pt x="710377" y="351074"/>
                        <a:pt x="693920" y="389472"/>
                        <a:pt x="661007" y="419643"/>
                      </a:cubicBezTo>
                      <a:cubicBezTo>
                        <a:pt x="658264" y="422385"/>
                        <a:pt x="652778" y="427871"/>
                        <a:pt x="650036" y="430614"/>
                      </a:cubicBezTo>
                      <a:cubicBezTo>
                        <a:pt x="650036" y="430614"/>
                        <a:pt x="650036" y="430614"/>
                        <a:pt x="650036" y="430614"/>
                      </a:cubicBezTo>
                      <a:cubicBezTo>
                        <a:pt x="619866" y="452556"/>
                        <a:pt x="584209" y="463527"/>
                        <a:pt x="545811" y="460784"/>
                      </a:cubicBezTo>
                      <a:cubicBezTo>
                        <a:pt x="469013" y="455299"/>
                        <a:pt x="405929" y="383987"/>
                        <a:pt x="405929" y="298961"/>
                      </a:cubicBezTo>
                      <a:close/>
                      <a:moveTo>
                        <a:pt x="496441" y="619864"/>
                      </a:moveTo>
                      <a:cubicBezTo>
                        <a:pt x="496441" y="619864"/>
                        <a:pt x="496441" y="622607"/>
                        <a:pt x="496441" y="619864"/>
                      </a:cubicBezTo>
                      <a:cubicBezTo>
                        <a:pt x="493698" y="622607"/>
                        <a:pt x="493698" y="619864"/>
                        <a:pt x="496441" y="619864"/>
                      </a:cubicBezTo>
                      <a:lnTo>
                        <a:pt x="444329" y="545810"/>
                      </a:lnTo>
                      <a:lnTo>
                        <a:pt x="460785" y="529353"/>
                      </a:lnTo>
                      <a:lnTo>
                        <a:pt x="534840" y="581466"/>
                      </a:lnTo>
                      <a:lnTo>
                        <a:pt x="496441" y="619864"/>
                      </a:lnTo>
                      <a:close/>
                      <a:moveTo>
                        <a:pt x="559524" y="559523"/>
                      </a:moveTo>
                      <a:lnTo>
                        <a:pt x="474498" y="499183"/>
                      </a:lnTo>
                      <a:lnTo>
                        <a:pt x="474498" y="469013"/>
                      </a:lnTo>
                      <a:cubicBezTo>
                        <a:pt x="496441" y="479983"/>
                        <a:pt x="521126" y="488212"/>
                        <a:pt x="548553" y="490954"/>
                      </a:cubicBezTo>
                      <a:cubicBezTo>
                        <a:pt x="554039" y="490954"/>
                        <a:pt x="556781" y="490954"/>
                        <a:pt x="562267" y="490954"/>
                      </a:cubicBezTo>
                      <a:cubicBezTo>
                        <a:pt x="592438" y="490954"/>
                        <a:pt x="622609" y="482726"/>
                        <a:pt x="647293" y="469013"/>
                      </a:cubicBezTo>
                      <a:lnTo>
                        <a:pt x="647293" y="499183"/>
                      </a:lnTo>
                      <a:lnTo>
                        <a:pt x="559524" y="559523"/>
                      </a:lnTo>
                      <a:close/>
                      <a:moveTo>
                        <a:pt x="628094" y="619864"/>
                      </a:moveTo>
                      <a:cubicBezTo>
                        <a:pt x="628094" y="619864"/>
                        <a:pt x="628094" y="622607"/>
                        <a:pt x="628094" y="619864"/>
                      </a:cubicBezTo>
                      <a:cubicBezTo>
                        <a:pt x="625351" y="622607"/>
                        <a:pt x="625351" y="622607"/>
                        <a:pt x="628094" y="619864"/>
                      </a:cubicBezTo>
                      <a:lnTo>
                        <a:pt x="586952" y="581466"/>
                      </a:lnTo>
                      <a:lnTo>
                        <a:pt x="661007" y="529353"/>
                      </a:lnTo>
                      <a:lnTo>
                        <a:pt x="677464" y="545810"/>
                      </a:lnTo>
                      <a:lnTo>
                        <a:pt x="628094" y="619864"/>
                      </a:lnTo>
                      <a:close/>
                      <a:moveTo>
                        <a:pt x="918827" y="606151"/>
                      </a:moveTo>
                      <a:lnTo>
                        <a:pt x="883171" y="570495"/>
                      </a:lnTo>
                      <a:cubicBezTo>
                        <a:pt x="883171" y="567752"/>
                        <a:pt x="883171" y="565009"/>
                        <a:pt x="883171" y="562266"/>
                      </a:cubicBezTo>
                      <a:lnTo>
                        <a:pt x="883171" y="556781"/>
                      </a:lnTo>
                      <a:cubicBezTo>
                        <a:pt x="894142" y="559523"/>
                        <a:pt x="905113" y="562266"/>
                        <a:pt x="916084" y="562266"/>
                      </a:cubicBezTo>
                      <a:cubicBezTo>
                        <a:pt x="916084" y="562266"/>
                        <a:pt x="918827" y="562266"/>
                        <a:pt x="918827" y="562266"/>
                      </a:cubicBezTo>
                      <a:cubicBezTo>
                        <a:pt x="929798" y="562266"/>
                        <a:pt x="943512" y="559523"/>
                        <a:pt x="954483" y="556781"/>
                      </a:cubicBezTo>
                      <a:lnTo>
                        <a:pt x="954483" y="562266"/>
                      </a:lnTo>
                      <a:cubicBezTo>
                        <a:pt x="954483" y="565009"/>
                        <a:pt x="954483" y="567752"/>
                        <a:pt x="954483" y="570495"/>
                      </a:cubicBezTo>
                      <a:lnTo>
                        <a:pt x="918827" y="606151"/>
                      </a:lnTo>
                      <a:close/>
                      <a:moveTo>
                        <a:pt x="979168" y="504668"/>
                      </a:moveTo>
                      <a:cubicBezTo>
                        <a:pt x="962712" y="521125"/>
                        <a:pt x="940769" y="529353"/>
                        <a:pt x="916084" y="529353"/>
                      </a:cubicBezTo>
                      <a:cubicBezTo>
                        <a:pt x="869458" y="526610"/>
                        <a:pt x="831058" y="488212"/>
                        <a:pt x="831058" y="438842"/>
                      </a:cubicBezTo>
                      <a:lnTo>
                        <a:pt x="831058" y="408671"/>
                      </a:lnTo>
                      <a:cubicBezTo>
                        <a:pt x="831058" y="405929"/>
                        <a:pt x="831058" y="403186"/>
                        <a:pt x="828316" y="400443"/>
                      </a:cubicBezTo>
                      <a:lnTo>
                        <a:pt x="817344" y="381244"/>
                      </a:lnTo>
                      <a:cubicBezTo>
                        <a:pt x="814602" y="373016"/>
                        <a:pt x="811859" y="364787"/>
                        <a:pt x="811859" y="356559"/>
                      </a:cubicBezTo>
                      <a:lnTo>
                        <a:pt x="811859" y="356559"/>
                      </a:lnTo>
                      <a:cubicBezTo>
                        <a:pt x="811859" y="318161"/>
                        <a:pt x="842030" y="287990"/>
                        <a:pt x="880429" y="287990"/>
                      </a:cubicBezTo>
                      <a:lnTo>
                        <a:pt x="1017567" y="287990"/>
                      </a:lnTo>
                      <a:lnTo>
                        <a:pt x="1017567" y="353816"/>
                      </a:lnTo>
                      <a:cubicBezTo>
                        <a:pt x="1017567" y="364787"/>
                        <a:pt x="1014824" y="375758"/>
                        <a:pt x="1009338" y="383987"/>
                      </a:cubicBezTo>
                      <a:lnTo>
                        <a:pt x="1001110" y="400443"/>
                      </a:lnTo>
                      <a:cubicBezTo>
                        <a:pt x="1001110" y="403186"/>
                        <a:pt x="998367" y="405929"/>
                        <a:pt x="998367" y="408671"/>
                      </a:cubicBezTo>
                      <a:lnTo>
                        <a:pt x="998367" y="441585"/>
                      </a:lnTo>
                      <a:cubicBezTo>
                        <a:pt x="1003853" y="466270"/>
                        <a:pt x="995624" y="488212"/>
                        <a:pt x="979168" y="504668"/>
                      </a:cubicBezTo>
                      <a:close/>
                    </a:path>
                  </a:pathLst>
                </a:custGeom>
                <a:grpFill/>
                <a:ln w="27426"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66198768-28E9-0279-C304-69FD291519CC}"/>
                    </a:ext>
                  </a:extLst>
                </p:cNvPr>
                <p:cNvSpPr/>
                <p:nvPr/>
              </p:nvSpPr>
              <p:spPr>
                <a:xfrm>
                  <a:off x="9258490" y="4220154"/>
                  <a:ext cx="135424" cy="52112"/>
                </a:xfrm>
                <a:custGeom>
                  <a:avLst/>
                  <a:gdLst>
                    <a:gd name="connsiteX0" fmla="*/ 126167 w 135424"/>
                    <a:gd name="connsiteY0" fmla="*/ 19200 h 52112"/>
                    <a:gd name="connsiteX1" fmla="*/ 16457 w 135424"/>
                    <a:gd name="connsiteY1" fmla="*/ 0 h 52112"/>
                    <a:gd name="connsiteX2" fmla="*/ 0 w 135424"/>
                    <a:gd name="connsiteY2" fmla="*/ 16457 h 52112"/>
                    <a:gd name="connsiteX3" fmla="*/ 16457 w 135424"/>
                    <a:gd name="connsiteY3" fmla="*/ 32913 h 52112"/>
                    <a:gd name="connsiteX4" fmla="*/ 112454 w 135424"/>
                    <a:gd name="connsiteY4" fmla="*/ 49370 h 52112"/>
                    <a:gd name="connsiteX5" fmla="*/ 120682 w 135424"/>
                    <a:gd name="connsiteY5" fmla="*/ 52113 h 52112"/>
                    <a:gd name="connsiteX6" fmla="*/ 134395 w 135424"/>
                    <a:gd name="connsiteY6" fmla="*/ 43884 h 52112"/>
                    <a:gd name="connsiteX7" fmla="*/ 126167 w 135424"/>
                    <a:gd name="connsiteY7" fmla="*/ 19200 h 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424" h="52112">
                      <a:moveTo>
                        <a:pt x="126167" y="19200"/>
                      </a:moveTo>
                      <a:cubicBezTo>
                        <a:pt x="87769" y="0"/>
                        <a:pt x="19200" y="0"/>
                        <a:pt x="16457" y="0"/>
                      </a:cubicBezTo>
                      <a:cubicBezTo>
                        <a:pt x="8228" y="0"/>
                        <a:pt x="0" y="8228"/>
                        <a:pt x="0" y="16457"/>
                      </a:cubicBezTo>
                      <a:cubicBezTo>
                        <a:pt x="0" y="24685"/>
                        <a:pt x="8228" y="32913"/>
                        <a:pt x="16457" y="32913"/>
                      </a:cubicBezTo>
                      <a:cubicBezTo>
                        <a:pt x="35656" y="32913"/>
                        <a:pt x="87769" y="35656"/>
                        <a:pt x="112454" y="49370"/>
                      </a:cubicBezTo>
                      <a:cubicBezTo>
                        <a:pt x="115197" y="49370"/>
                        <a:pt x="117939" y="52113"/>
                        <a:pt x="120682" y="52113"/>
                      </a:cubicBezTo>
                      <a:cubicBezTo>
                        <a:pt x="126167" y="52113"/>
                        <a:pt x="131653" y="49370"/>
                        <a:pt x="134395" y="43884"/>
                      </a:cubicBezTo>
                      <a:cubicBezTo>
                        <a:pt x="137138" y="32913"/>
                        <a:pt x="134395" y="24685"/>
                        <a:pt x="126167" y="19200"/>
                      </a:cubicBezTo>
                      <a:close/>
                    </a:path>
                  </a:pathLst>
                </a:custGeom>
                <a:grpFill/>
                <a:ln w="27426"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0F1694B8-7F0B-DD5E-95D8-64DEABEE0E26}"/>
                    </a:ext>
                  </a:extLst>
                </p:cNvPr>
                <p:cNvSpPr/>
                <p:nvPr/>
              </p:nvSpPr>
              <p:spPr>
                <a:xfrm>
                  <a:off x="8833361" y="4024394"/>
                  <a:ext cx="270162" cy="91535"/>
                </a:xfrm>
                <a:custGeom>
                  <a:avLst/>
                  <a:gdLst>
                    <a:gd name="connsiteX0" fmla="*/ 266049 w 270162"/>
                    <a:gd name="connsiteY0" fmla="*/ 47651 h 91535"/>
                    <a:gd name="connsiteX1" fmla="*/ 27428 w 270162"/>
                    <a:gd name="connsiteY1" fmla="*/ 6509 h 91535"/>
                    <a:gd name="connsiteX2" fmla="*/ 0 w 270162"/>
                    <a:gd name="connsiteY2" fmla="*/ 39422 h 91535"/>
                    <a:gd name="connsiteX3" fmla="*/ 0 w 270162"/>
                    <a:gd name="connsiteY3" fmla="*/ 75078 h 91535"/>
                    <a:gd name="connsiteX4" fmla="*/ 16457 w 270162"/>
                    <a:gd name="connsiteY4" fmla="*/ 91535 h 91535"/>
                    <a:gd name="connsiteX5" fmla="*/ 32914 w 270162"/>
                    <a:gd name="connsiteY5" fmla="*/ 75078 h 91535"/>
                    <a:gd name="connsiteX6" fmla="*/ 32914 w 270162"/>
                    <a:gd name="connsiteY6" fmla="*/ 39422 h 91535"/>
                    <a:gd name="connsiteX7" fmla="*/ 32914 w 270162"/>
                    <a:gd name="connsiteY7" fmla="*/ 39422 h 91535"/>
                    <a:gd name="connsiteX8" fmla="*/ 137138 w 270162"/>
                    <a:gd name="connsiteY8" fmla="*/ 33937 h 91535"/>
                    <a:gd name="connsiteX9" fmla="*/ 244106 w 270162"/>
                    <a:gd name="connsiteY9" fmla="*/ 72335 h 91535"/>
                    <a:gd name="connsiteX10" fmla="*/ 266049 w 270162"/>
                    <a:gd name="connsiteY10" fmla="*/ 72335 h 91535"/>
                    <a:gd name="connsiteX11" fmla="*/ 266049 w 270162"/>
                    <a:gd name="connsiteY11" fmla="*/ 47651 h 91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62" h="91535">
                      <a:moveTo>
                        <a:pt x="266049" y="47651"/>
                      </a:moveTo>
                      <a:cubicBezTo>
                        <a:pt x="205708" y="-12690"/>
                        <a:pt x="79540" y="-1719"/>
                        <a:pt x="27428" y="6509"/>
                      </a:cubicBezTo>
                      <a:cubicBezTo>
                        <a:pt x="10971" y="9252"/>
                        <a:pt x="0" y="22966"/>
                        <a:pt x="0" y="39422"/>
                      </a:cubicBezTo>
                      <a:lnTo>
                        <a:pt x="0" y="75078"/>
                      </a:lnTo>
                      <a:cubicBezTo>
                        <a:pt x="0" y="83307"/>
                        <a:pt x="8228" y="91535"/>
                        <a:pt x="16457" y="91535"/>
                      </a:cubicBezTo>
                      <a:cubicBezTo>
                        <a:pt x="24685" y="91535"/>
                        <a:pt x="32914" y="83307"/>
                        <a:pt x="32914" y="75078"/>
                      </a:cubicBezTo>
                      <a:lnTo>
                        <a:pt x="32914" y="39422"/>
                      </a:lnTo>
                      <a:cubicBezTo>
                        <a:pt x="32914" y="39422"/>
                        <a:pt x="32914" y="39422"/>
                        <a:pt x="32914" y="39422"/>
                      </a:cubicBezTo>
                      <a:cubicBezTo>
                        <a:pt x="52112" y="36680"/>
                        <a:pt x="93254" y="31194"/>
                        <a:pt x="137138" y="33937"/>
                      </a:cubicBezTo>
                      <a:cubicBezTo>
                        <a:pt x="186508" y="36680"/>
                        <a:pt x="222164" y="50394"/>
                        <a:pt x="244106" y="72335"/>
                      </a:cubicBezTo>
                      <a:cubicBezTo>
                        <a:pt x="249592" y="77821"/>
                        <a:pt x="260563" y="77821"/>
                        <a:pt x="266049" y="72335"/>
                      </a:cubicBezTo>
                      <a:cubicBezTo>
                        <a:pt x="271534" y="64107"/>
                        <a:pt x="271534" y="53136"/>
                        <a:pt x="266049" y="47651"/>
                      </a:cubicBezTo>
                      <a:close/>
                    </a:path>
                  </a:pathLst>
                </a:custGeom>
                <a:grpFill/>
                <a:ln w="27426"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82E18A57-4C5D-6923-6C14-8A96D2C18D59}"/>
                    </a:ext>
                  </a:extLst>
                </p:cNvPr>
                <p:cNvSpPr/>
                <p:nvPr/>
              </p:nvSpPr>
              <p:spPr>
                <a:xfrm>
                  <a:off x="8764792" y="4579456"/>
                  <a:ext cx="32913" cy="101482"/>
                </a:xfrm>
                <a:custGeom>
                  <a:avLst/>
                  <a:gdLst>
                    <a:gd name="connsiteX0" fmla="*/ 16457 w 32913"/>
                    <a:gd name="connsiteY0" fmla="*/ 0 h 101482"/>
                    <a:gd name="connsiteX1" fmla="*/ 0 w 32913"/>
                    <a:gd name="connsiteY1" fmla="*/ 16457 h 101482"/>
                    <a:gd name="connsiteX2" fmla="*/ 0 w 32913"/>
                    <a:gd name="connsiteY2" fmla="*/ 85026 h 101482"/>
                    <a:gd name="connsiteX3" fmla="*/ 16457 w 32913"/>
                    <a:gd name="connsiteY3" fmla="*/ 101482 h 101482"/>
                    <a:gd name="connsiteX4" fmla="*/ 32914 w 32913"/>
                    <a:gd name="connsiteY4" fmla="*/ 85026 h 101482"/>
                    <a:gd name="connsiteX5" fmla="*/ 32914 w 32913"/>
                    <a:gd name="connsiteY5" fmla="*/ 16457 h 101482"/>
                    <a:gd name="connsiteX6" fmla="*/ 16457 w 32913"/>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3" h="101482">
                      <a:moveTo>
                        <a:pt x="16457" y="0"/>
                      </a:moveTo>
                      <a:cubicBezTo>
                        <a:pt x="8228" y="0"/>
                        <a:pt x="0" y="8228"/>
                        <a:pt x="0" y="16457"/>
                      </a:cubicBezTo>
                      <a:lnTo>
                        <a:pt x="0" y="85026"/>
                      </a:lnTo>
                      <a:cubicBezTo>
                        <a:pt x="0" y="93254"/>
                        <a:pt x="8228" y="101482"/>
                        <a:pt x="16457" y="101482"/>
                      </a:cubicBezTo>
                      <a:cubicBezTo>
                        <a:pt x="24685" y="101482"/>
                        <a:pt x="32914" y="93254"/>
                        <a:pt x="32914" y="85026"/>
                      </a:cubicBezTo>
                      <a:lnTo>
                        <a:pt x="32914" y="16457"/>
                      </a:lnTo>
                      <a:cubicBezTo>
                        <a:pt x="32914" y="8228"/>
                        <a:pt x="24685" y="0"/>
                        <a:pt x="16457" y="0"/>
                      </a:cubicBezTo>
                      <a:close/>
                    </a:path>
                  </a:pathLst>
                </a:custGeom>
                <a:grpFill/>
                <a:ln w="27426"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1F92237-F23C-258E-E259-E0D91B43F1EC}"/>
                    </a:ext>
                  </a:extLst>
                </p:cNvPr>
                <p:cNvSpPr/>
                <p:nvPr/>
              </p:nvSpPr>
              <p:spPr>
                <a:xfrm>
                  <a:off x="9140551" y="4579456"/>
                  <a:ext cx="32912" cy="101482"/>
                </a:xfrm>
                <a:custGeom>
                  <a:avLst/>
                  <a:gdLst>
                    <a:gd name="connsiteX0" fmla="*/ 16456 w 32912"/>
                    <a:gd name="connsiteY0" fmla="*/ 0 h 101482"/>
                    <a:gd name="connsiteX1" fmla="*/ 0 w 32912"/>
                    <a:gd name="connsiteY1" fmla="*/ 16457 h 101482"/>
                    <a:gd name="connsiteX2" fmla="*/ 0 w 32912"/>
                    <a:gd name="connsiteY2" fmla="*/ 85026 h 101482"/>
                    <a:gd name="connsiteX3" fmla="*/ 16456 w 32912"/>
                    <a:gd name="connsiteY3" fmla="*/ 101482 h 101482"/>
                    <a:gd name="connsiteX4" fmla="*/ 32913 w 32912"/>
                    <a:gd name="connsiteY4" fmla="*/ 85026 h 101482"/>
                    <a:gd name="connsiteX5" fmla="*/ 32913 w 32912"/>
                    <a:gd name="connsiteY5" fmla="*/ 16457 h 101482"/>
                    <a:gd name="connsiteX6" fmla="*/ 16456 w 32912"/>
                    <a:gd name="connsiteY6" fmla="*/ 0 h 1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01482">
                      <a:moveTo>
                        <a:pt x="16456" y="0"/>
                      </a:moveTo>
                      <a:cubicBezTo>
                        <a:pt x="8228" y="0"/>
                        <a:pt x="0" y="8228"/>
                        <a:pt x="0" y="16457"/>
                      </a:cubicBezTo>
                      <a:lnTo>
                        <a:pt x="0" y="85026"/>
                      </a:lnTo>
                      <a:cubicBezTo>
                        <a:pt x="0" y="93254"/>
                        <a:pt x="8228" y="101482"/>
                        <a:pt x="16456" y="101482"/>
                      </a:cubicBezTo>
                      <a:cubicBezTo>
                        <a:pt x="24685" y="101482"/>
                        <a:pt x="32913" y="93254"/>
                        <a:pt x="32913" y="85026"/>
                      </a:cubicBezTo>
                      <a:lnTo>
                        <a:pt x="32913" y="16457"/>
                      </a:lnTo>
                      <a:cubicBezTo>
                        <a:pt x="32913" y="8228"/>
                        <a:pt x="24685" y="0"/>
                        <a:pt x="16456" y="0"/>
                      </a:cubicBezTo>
                      <a:close/>
                    </a:path>
                  </a:pathLst>
                </a:custGeom>
                <a:grpFill/>
                <a:ln w="27426"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A6D382BC-57D6-EEC5-13AF-930D5A3CE4A3}"/>
                    </a:ext>
                  </a:extLst>
                </p:cNvPr>
                <p:cNvSpPr/>
                <p:nvPr/>
              </p:nvSpPr>
              <p:spPr>
                <a:xfrm>
                  <a:off x="8852561" y="4409405"/>
                  <a:ext cx="90510" cy="91730"/>
                </a:xfrm>
                <a:custGeom>
                  <a:avLst/>
                  <a:gdLst>
                    <a:gd name="connsiteX0" fmla="*/ 52112 w 90510"/>
                    <a:gd name="connsiteY0" fmla="*/ 90511 h 91730"/>
                    <a:gd name="connsiteX1" fmla="*/ 52112 w 90510"/>
                    <a:gd name="connsiteY1" fmla="*/ 90511 h 91730"/>
                    <a:gd name="connsiteX2" fmla="*/ 52112 w 90510"/>
                    <a:gd name="connsiteY2" fmla="*/ 90511 h 91730"/>
                    <a:gd name="connsiteX3" fmla="*/ 0 w 90510"/>
                    <a:gd name="connsiteY3" fmla="*/ 16456 h 91730"/>
                    <a:gd name="connsiteX4" fmla="*/ 16456 w 90510"/>
                    <a:gd name="connsiteY4" fmla="*/ 0 h 91730"/>
                    <a:gd name="connsiteX5" fmla="*/ 90511 w 90510"/>
                    <a:gd name="connsiteY5" fmla="*/ 52112 h 91730"/>
                    <a:gd name="connsiteX6" fmla="*/ 52112 w 90510"/>
                    <a:gd name="connsiteY6" fmla="*/ 90511 h 9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0" h="91730">
                      <a:moveTo>
                        <a:pt x="52112" y="90511"/>
                      </a:moveTo>
                      <a:cubicBezTo>
                        <a:pt x="52112" y="90511"/>
                        <a:pt x="52112" y="93254"/>
                        <a:pt x="52112" y="90511"/>
                      </a:cubicBezTo>
                      <a:cubicBezTo>
                        <a:pt x="49369" y="93254"/>
                        <a:pt x="49369" y="90511"/>
                        <a:pt x="52112" y="90511"/>
                      </a:cubicBezTo>
                      <a:lnTo>
                        <a:pt x="0" y="16456"/>
                      </a:lnTo>
                      <a:lnTo>
                        <a:pt x="16456" y="0"/>
                      </a:lnTo>
                      <a:lnTo>
                        <a:pt x="90511" y="52112"/>
                      </a:lnTo>
                      <a:lnTo>
                        <a:pt x="52112" y="90511"/>
                      </a:lnTo>
                      <a:close/>
                    </a:path>
                  </a:pathLst>
                </a:custGeom>
                <a:grpFill/>
                <a:ln w="27426"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97FA79FF-45E4-FB4A-0381-8796B790C031}"/>
                    </a:ext>
                  </a:extLst>
                </p:cNvPr>
                <p:cNvSpPr/>
                <p:nvPr/>
              </p:nvSpPr>
              <p:spPr>
                <a:xfrm>
                  <a:off x="8995184" y="4409405"/>
                  <a:ext cx="90511" cy="92568"/>
                </a:xfrm>
                <a:custGeom>
                  <a:avLst/>
                  <a:gdLst>
                    <a:gd name="connsiteX0" fmla="*/ 41142 w 90511"/>
                    <a:gd name="connsiteY0" fmla="*/ 90511 h 92568"/>
                    <a:gd name="connsiteX1" fmla="*/ 41142 w 90511"/>
                    <a:gd name="connsiteY1" fmla="*/ 90511 h 92568"/>
                    <a:gd name="connsiteX2" fmla="*/ 41142 w 90511"/>
                    <a:gd name="connsiteY2" fmla="*/ 90511 h 92568"/>
                    <a:gd name="connsiteX3" fmla="*/ 0 w 90511"/>
                    <a:gd name="connsiteY3" fmla="*/ 52112 h 92568"/>
                    <a:gd name="connsiteX4" fmla="*/ 74055 w 90511"/>
                    <a:gd name="connsiteY4" fmla="*/ 0 h 92568"/>
                    <a:gd name="connsiteX5" fmla="*/ 90512 w 90511"/>
                    <a:gd name="connsiteY5" fmla="*/ 16456 h 92568"/>
                    <a:gd name="connsiteX6" fmla="*/ 41142 w 90511"/>
                    <a:gd name="connsiteY6" fmla="*/ 90511 h 9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511" h="92568">
                      <a:moveTo>
                        <a:pt x="41142" y="90511"/>
                      </a:moveTo>
                      <a:cubicBezTo>
                        <a:pt x="41142" y="90511"/>
                        <a:pt x="41142" y="93254"/>
                        <a:pt x="41142" y="90511"/>
                      </a:cubicBezTo>
                      <a:cubicBezTo>
                        <a:pt x="38399" y="93254"/>
                        <a:pt x="38399" y="93254"/>
                        <a:pt x="41142" y="90511"/>
                      </a:cubicBezTo>
                      <a:lnTo>
                        <a:pt x="0" y="52112"/>
                      </a:lnTo>
                      <a:lnTo>
                        <a:pt x="74055" y="0"/>
                      </a:lnTo>
                      <a:lnTo>
                        <a:pt x="90512" y="16456"/>
                      </a:lnTo>
                      <a:lnTo>
                        <a:pt x="41142" y="90511"/>
                      </a:lnTo>
                      <a:close/>
                    </a:path>
                  </a:pathLst>
                </a:custGeom>
                <a:grpFill/>
                <a:ln w="27426"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7792B061-DB9B-68DA-4A2E-624B11501E42}"/>
                    </a:ext>
                  </a:extLst>
                </p:cNvPr>
                <p:cNvSpPr/>
                <p:nvPr/>
              </p:nvSpPr>
              <p:spPr>
                <a:xfrm>
                  <a:off x="9412085" y="4546543"/>
                  <a:ext cx="32912" cy="134395"/>
                </a:xfrm>
                <a:custGeom>
                  <a:avLst/>
                  <a:gdLst>
                    <a:gd name="connsiteX0" fmla="*/ 16457 w 32912"/>
                    <a:gd name="connsiteY0" fmla="*/ 0 h 134395"/>
                    <a:gd name="connsiteX1" fmla="*/ 0 w 32912"/>
                    <a:gd name="connsiteY1" fmla="*/ 16456 h 134395"/>
                    <a:gd name="connsiteX2" fmla="*/ 0 w 32912"/>
                    <a:gd name="connsiteY2" fmla="*/ 117939 h 134395"/>
                    <a:gd name="connsiteX3" fmla="*/ 16457 w 32912"/>
                    <a:gd name="connsiteY3" fmla="*/ 134395 h 134395"/>
                    <a:gd name="connsiteX4" fmla="*/ 32913 w 32912"/>
                    <a:gd name="connsiteY4" fmla="*/ 117939 h 134395"/>
                    <a:gd name="connsiteX5" fmla="*/ 32913 w 32912"/>
                    <a:gd name="connsiteY5" fmla="*/ 16456 h 134395"/>
                    <a:gd name="connsiteX6" fmla="*/ 16457 w 32912"/>
                    <a:gd name="connsiteY6" fmla="*/ 0 h 13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12" h="134395">
                      <a:moveTo>
                        <a:pt x="16457" y="0"/>
                      </a:moveTo>
                      <a:cubicBezTo>
                        <a:pt x="8228" y="0"/>
                        <a:pt x="0" y="8228"/>
                        <a:pt x="0" y="16456"/>
                      </a:cubicBezTo>
                      <a:lnTo>
                        <a:pt x="0" y="117939"/>
                      </a:lnTo>
                      <a:cubicBezTo>
                        <a:pt x="0" y="126167"/>
                        <a:pt x="8228" y="134395"/>
                        <a:pt x="16457" y="134395"/>
                      </a:cubicBezTo>
                      <a:cubicBezTo>
                        <a:pt x="24685" y="134395"/>
                        <a:pt x="32913" y="126167"/>
                        <a:pt x="32913" y="117939"/>
                      </a:cubicBezTo>
                      <a:lnTo>
                        <a:pt x="32913" y="16456"/>
                      </a:lnTo>
                      <a:cubicBezTo>
                        <a:pt x="32913" y="5485"/>
                        <a:pt x="24685" y="0"/>
                        <a:pt x="16457" y="0"/>
                      </a:cubicBezTo>
                      <a:close/>
                    </a:path>
                  </a:pathLst>
                </a:custGeom>
                <a:grpFill/>
                <a:ln w="27426" cap="flat">
                  <a:noFill/>
                  <a:prstDash val="solid"/>
                  <a:miter/>
                </a:ln>
              </p:spPr>
              <p:txBody>
                <a:bodyPr rtlCol="0" anchor="ctr"/>
                <a:lstStyle/>
                <a:p>
                  <a:endParaRPr lang="en-US"/>
                </a:p>
              </p:txBody>
            </p:sp>
          </p:grpSp>
        </p:grpSp>
        <p:grpSp>
          <p:nvGrpSpPr>
            <p:cNvPr id="99" name="Graphic 2">
              <a:extLst>
                <a:ext uri="{FF2B5EF4-FFF2-40B4-BE49-F238E27FC236}">
                  <a16:creationId xmlns:a16="http://schemas.microsoft.com/office/drawing/2014/main" id="{265D39D9-1B8B-5ACC-DF7E-93141EA06E77}"/>
                </a:ext>
              </a:extLst>
            </p:cNvPr>
            <p:cNvGrpSpPr/>
            <p:nvPr/>
          </p:nvGrpSpPr>
          <p:grpSpPr>
            <a:xfrm>
              <a:off x="5090894" y="3193881"/>
              <a:ext cx="696354" cy="704528"/>
              <a:chOff x="7190753" y="5365577"/>
              <a:chExt cx="745522" cy="754273"/>
            </a:xfrm>
            <a:solidFill>
              <a:schemeClr val="bg1"/>
            </a:solidFill>
          </p:grpSpPr>
          <p:sp>
            <p:nvSpPr>
              <p:cNvPr id="100" name="Freeform 99">
                <a:extLst>
                  <a:ext uri="{FF2B5EF4-FFF2-40B4-BE49-F238E27FC236}">
                    <a16:creationId xmlns:a16="http://schemas.microsoft.com/office/drawing/2014/main" id="{0881296B-7853-4428-2FDE-671A5A93FE56}"/>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8">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1" name="Freeform 100">
                <a:extLst>
                  <a:ext uri="{FF2B5EF4-FFF2-40B4-BE49-F238E27FC236}">
                    <a16:creationId xmlns:a16="http://schemas.microsoft.com/office/drawing/2014/main" id="{204D1750-A423-DDE5-B4C1-C4694F86A636}"/>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2" name="Freeform 101">
                <a:extLst>
                  <a:ext uri="{FF2B5EF4-FFF2-40B4-BE49-F238E27FC236}">
                    <a16:creationId xmlns:a16="http://schemas.microsoft.com/office/drawing/2014/main" id="{723514CC-CE82-E82A-090F-63F82728053D}"/>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2">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3" name="Freeform 102">
                <a:extLst>
                  <a:ext uri="{FF2B5EF4-FFF2-40B4-BE49-F238E27FC236}">
                    <a16:creationId xmlns:a16="http://schemas.microsoft.com/office/drawing/2014/main" id="{9F41B479-3EE4-7881-F5F7-286F2CE7D72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4" name="Freeform 103">
                <a:extLst>
                  <a:ext uri="{FF2B5EF4-FFF2-40B4-BE49-F238E27FC236}">
                    <a16:creationId xmlns:a16="http://schemas.microsoft.com/office/drawing/2014/main" id="{8D857E31-CE8A-4A16-6AE2-94E3F79B34E2}"/>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5" name="Freeform 104">
                <a:extLst>
                  <a:ext uri="{FF2B5EF4-FFF2-40B4-BE49-F238E27FC236}">
                    <a16:creationId xmlns:a16="http://schemas.microsoft.com/office/drawing/2014/main" id="{C7AA5A05-9FE6-B75D-BB56-2058DD999F96}"/>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6" name="Freeform 105">
                <a:extLst>
                  <a:ext uri="{FF2B5EF4-FFF2-40B4-BE49-F238E27FC236}">
                    <a16:creationId xmlns:a16="http://schemas.microsoft.com/office/drawing/2014/main" id="{4126B7E0-C142-D620-D6B3-202333FEA12E}"/>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7" name="Freeform 106">
                <a:extLst>
                  <a:ext uri="{FF2B5EF4-FFF2-40B4-BE49-F238E27FC236}">
                    <a16:creationId xmlns:a16="http://schemas.microsoft.com/office/drawing/2014/main" id="{47104B21-D622-45AF-3F21-C6AE9E80D401}"/>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8" name="Freeform 107">
                <a:extLst>
                  <a:ext uri="{FF2B5EF4-FFF2-40B4-BE49-F238E27FC236}">
                    <a16:creationId xmlns:a16="http://schemas.microsoft.com/office/drawing/2014/main" id="{20F6F1BA-0B42-49E2-9DDF-16A1B0606F6F}"/>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cxnSp>
          <p:nvCxnSpPr>
            <p:cNvPr id="109" name="Straight Connector 108">
              <a:extLst>
                <a:ext uri="{FF2B5EF4-FFF2-40B4-BE49-F238E27FC236}">
                  <a16:creationId xmlns:a16="http://schemas.microsoft.com/office/drawing/2014/main" id="{2000604A-B20F-EB2A-627F-F95068AF2343}"/>
                </a:ext>
              </a:extLst>
            </p:cNvPr>
            <p:cNvCxnSpPr/>
            <p:nvPr/>
          </p:nvCxnSpPr>
          <p:spPr>
            <a:xfrm>
              <a:off x="3132654" y="4421555"/>
              <a:ext cx="1048319"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F2CFA78-4B9F-AC46-48D5-9C2F28F2016D}"/>
                </a:ext>
              </a:extLst>
            </p:cNvPr>
            <p:cNvCxnSpPr>
              <a:cxnSpLocks/>
            </p:cNvCxnSpPr>
            <p:nvPr/>
          </p:nvCxnSpPr>
          <p:spPr>
            <a:xfrm>
              <a:off x="3917149" y="2963933"/>
              <a:ext cx="446543"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276D6838-BFE2-6DD0-E66A-9D6E345D2D09}"/>
                </a:ext>
              </a:extLst>
            </p:cNvPr>
            <p:cNvCxnSpPr/>
            <p:nvPr/>
          </p:nvCxnSpPr>
          <p:spPr>
            <a:xfrm>
              <a:off x="4037941" y="5929861"/>
              <a:ext cx="1048319"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112" name="Text Placeholder 2">
              <a:extLst>
                <a:ext uri="{FF2B5EF4-FFF2-40B4-BE49-F238E27FC236}">
                  <a16:creationId xmlns:a16="http://schemas.microsoft.com/office/drawing/2014/main" id="{5C38E1EB-2AB0-604B-5CEF-169E23540B6A}"/>
                </a:ext>
              </a:extLst>
            </p:cNvPr>
            <p:cNvSpPr txBox="1">
              <a:spLocks/>
            </p:cNvSpPr>
            <p:nvPr/>
          </p:nvSpPr>
          <p:spPr>
            <a:xfrm>
              <a:off x="7405685" y="4117497"/>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113" name="Text Placeholder 2">
              <a:extLst>
                <a:ext uri="{FF2B5EF4-FFF2-40B4-BE49-F238E27FC236}">
                  <a16:creationId xmlns:a16="http://schemas.microsoft.com/office/drawing/2014/main" id="{ACEF241F-163D-9662-04AE-005B9A67F389}"/>
                </a:ext>
              </a:extLst>
            </p:cNvPr>
            <p:cNvSpPr txBox="1">
              <a:spLocks/>
            </p:cNvSpPr>
            <p:nvPr/>
          </p:nvSpPr>
          <p:spPr>
            <a:xfrm>
              <a:off x="6633432" y="5660233"/>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114" name="Text Placeholder 2">
              <a:extLst>
                <a:ext uri="{FF2B5EF4-FFF2-40B4-BE49-F238E27FC236}">
                  <a16:creationId xmlns:a16="http://schemas.microsoft.com/office/drawing/2014/main" id="{8239AC02-5450-0979-7969-7A788CDE2B6B}"/>
                </a:ext>
              </a:extLst>
            </p:cNvPr>
            <p:cNvSpPr txBox="1">
              <a:spLocks/>
            </p:cNvSpPr>
            <p:nvPr/>
          </p:nvSpPr>
          <p:spPr>
            <a:xfrm>
              <a:off x="4357299" y="5650246"/>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115" name="Text Placeholder 2">
              <a:extLst>
                <a:ext uri="{FF2B5EF4-FFF2-40B4-BE49-F238E27FC236}">
                  <a16:creationId xmlns:a16="http://schemas.microsoft.com/office/drawing/2014/main" id="{01520EFC-EAA4-2109-C7BB-E99AD2750388}"/>
                </a:ext>
              </a:extLst>
            </p:cNvPr>
            <p:cNvSpPr txBox="1">
              <a:spLocks/>
            </p:cNvSpPr>
            <p:nvPr/>
          </p:nvSpPr>
          <p:spPr>
            <a:xfrm>
              <a:off x="3550043" y="4100660"/>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116" name="Text Placeholder 2">
              <a:extLst>
                <a:ext uri="{FF2B5EF4-FFF2-40B4-BE49-F238E27FC236}">
                  <a16:creationId xmlns:a16="http://schemas.microsoft.com/office/drawing/2014/main" id="{1B0D154D-94E2-C198-955D-03C7462E51C3}"/>
                </a:ext>
              </a:extLst>
            </p:cNvPr>
            <p:cNvSpPr txBox="1">
              <a:spLocks/>
            </p:cNvSpPr>
            <p:nvPr/>
          </p:nvSpPr>
          <p:spPr>
            <a:xfrm>
              <a:off x="4369915" y="2646969"/>
              <a:ext cx="813649" cy="13065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grpSp>
          <p:nvGrpSpPr>
            <p:cNvPr id="117" name="Graphic 2">
              <a:extLst>
                <a:ext uri="{FF2B5EF4-FFF2-40B4-BE49-F238E27FC236}">
                  <a16:creationId xmlns:a16="http://schemas.microsoft.com/office/drawing/2014/main" id="{5A81C7C3-5770-7954-C6F7-9B660BE5C892}"/>
                </a:ext>
              </a:extLst>
            </p:cNvPr>
            <p:cNvGrpSpPr/>
            <p:nvPr/>
          </p:nvGrpSpPr>
          <p:grpSpPr>
            <a:xfrm>
              <a:off x="6545948" y="4050491"/>
              <a:ext cx="713640" cy="712940"/>
              <a:chOff x="10376768" y="2334933"/>
              <a:chExt cx="920484" cy="919581"/>
            </a:xfrm>
            <a:solidFill>
              <a:schemeClr val="bg1"/>
            </a:solidFill>
          </p:grpSpPr>
          <p:sp>
            <p:nvSpPr>
              <p:cNvPr id="118" name="Freeform 117">
                <a:extLst>
                  <a:ext uri="{FF2B5EF4-FFF2-40B4-BE49-F238E27FC236}">
                    <a16:creationId xmlns:a16="http://schemas.microsoft.com/office/drawing/2014/main" id="{1A31F3FF-6326-5569-705C-020C08EC41FC}"/>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19" name="Freeform 118">
                <a:extLst>
                  <a:ext uri="{FF2B5EF4-FFF2-40B4-BE49-F238E27FC236}">
                    <a16:creationId xmlns:a16="http://schemas.microsoft.com/office/drawing/2014/main" id="{2ED330E6-3274-7DD0-0FFF-1107269B2ABD}"/>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20" name="Graphic 3">
              <a:extLst>
                <a:ext uri="{FF2B5EF4-FFF2-40B4-BE49-F238E27FC236}">
                  <a16:creationId xmlns:a16="http://schemas.microsoft.com/office/drawing/2014/main" id="{D845616B-FAD8-BC2D-6D93-327EB522E75A}"/>
                </a:ext>
              </a:extLst>
            </p:cNvPr>
            <p:cNvGrpSpPr/>
            <p:nvPr/>
          </p:nvGrpSpPr>
          <p:grpSpPr>
            <a:xfrm>
              <a:off x="5112397" y="4875772"/>
              <a:ext cx="649846" cy="733313"/>
              <a:chOff x="4643578" y="432838"/>
              <a:chExt cx="1028134" cy="1160188"/>
            </a:xfrm>
            <a:solidFill>
              <a:schemeClr val="bg1"/>
            </a:solidFill>
          </p:grpSpPr>
          <p:sp>
            <p:nvSpPr>
              <p:cNvPr id="121" name="Freeform 120">
                <a:extLst>
                  <a:ext uri="{FF2B5EF4-FFF2-40B4-BE49-F238E27FC236}">
                    <a16:creationId xmlns:a16="http://schemas.microsoft.com/office/drawing/2014/main" id="{98B7800B-A44B-3D1B-3502-36174E94518D}"/>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22" name="Graphic 3">
                <a:extLst>
                  <a:ext uri="{FF2B5EF4-FFF2-40B4-BE49-F238E27FC236}">
                    <a16:creationId xmlns:a16="http://schemas.microsoft.com/office/drawing/2014/main" id="{1CDCBBCD-CF26-FC5E-399A-39221E54B171}"/>
                  </a:ext>
                </a:extLst>
              </p:cNvPr>
              <p:cNvGrpSpPr/>
              <p:nvPr/>
            </p:nvGrpSpPr>
            <p:grpSpPr>
              <a:xfrm>
                <a:off x="4643578" y="432838"/>
                <a:ext cx="1028134" cy="1160188"/>
                <a:chOff x="4643578" y="432838"/>
                <a:chExt cx="1028134" cy="1160188"/>
              </a:xfrm>
              <a:grpFill/>
            </p:grpSpPr>
            <p:sp>
              <p:nvSpPr>
                <p:cNvPr id="123" name="Freeform 122">
                  <a:extLst>
                    <a:ext uri="{FF2B5EF4-FFF2-40B4-BE49-F238E27FC236}">
                      <a16:creationId xmlns:a16="http://schemas.microsoft.com/office/drawing/2014/main" id="{3F9FEF64-2C6B-2FC1-6073-37E5271E128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29E7A41C-45D5-0049-7F58-BE551AEA5114}"/>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15224944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1" y="0"/>
            <a:ext cx="577438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526269" y="2692399"/>
            <a:ext cx="4943282" cy="4657204"/>
          </a:xfrm>
        </p:spPr>
        <p:txBody>
          <a:bodyPr>
            <a:normAutofit/>
          </a:bodyPr>
          <a:lstStyle/>
          <a:p>
            <a:pPr marL="15875" indent="-15875">
              <a:lnSpc>
                <a:spcPts val="2280"/>
              </a:lnSpc>
              <a:spcBef>
                <a:spcPts val="0"/>
              </a:spcBef>
            </a:pPr>
            <a:r>
              <a:rPr lang="en-US" sz="1600" dirty="0" err="1">
                <a:solidFill>
                  <a:schemeClr val="bg1"/>
                </a:solidFill>
              </a:rPr>
              <a:t>Αναλύστε </a:t>
            </a:r>
            <a:r>
              <a:rPr lang="en-US" sz="1600" dirty="0">
                <a:solidFill>
                  <a:schemeClr val="bg1"/>
                </a:solidFill>
              </a:rPr>
              <a:t>τους σημαντικότερους ενδιαφερόμενους (εκείνους που έχουν ιδιαίτερη σημασία για την επιτυχία της ανάκαμψης).  Χαρτογραφήστε τα κοινά σας με βάση τον πίνακα ανάλυσης κοινού.</a:t>
            </a:r>
          </a:p>
          <a:p>
            <a:pPr marL="15875" indent="-15875">
              <a:lnSpc>
                <a:spcPts val="2280"/>
              </a:lnSpc>
              <a:spcBef>
                <a:spcPts val="0"/>
              </a:spcBef>
            </a:pPr>
            <a:endParaRPr lang="en-US" sz="1600" dirty="0">
              <a:solidFill>
                <a:schemeClr val="bg1"/>
              </a:solidFill>
            </a:endParaRPr>
          </a:p>
          <a:p>
            <a:pPr marL="15875" indent="-15875">
              <a:lnSpc>
                <a:spcPts val="2280"/>
              </a:lnSpc>
              <a:spcBef>
                <a:spcPts val="0"/>
              </a:spcBef>
            </a:pPr>
            <a:r>
              <a:rPr lang="en-US" sz="1600" b="1" dirty="0">
                <a:solidFill>
                  <a:schemeClr val="bg1"/>
                </a:solidFill>
              </a:rPr>
              <a:t>Η στρατηγική επικοινωνίας σας θα πρέπει</a:t>
            </a:r>
          </a:p>
          <a:p>
            <a:pPr marL="342900" indent="-342900">
              <a:lnSpc>
                <a:spcPts val="2280"/>
              </a:lnSpc>
              <a:spcBef>
                <a:spcPts val="0"/>
              </a:spcBef>
              <a:buFont typeface="Arial" panose="020B0604020202020204" pitchFamily="34" charset="0"/>
              <a:buChar char="•"/>
            </a:pPr>
            <a:r>
              <a:rPr lang="en-US" sz="1600" dirty="0">
                <a:solidFill>
                  <a:schemeClr val="bg1"/>
                </a:solidFill>
              </a:rPr>
              <a:t>Ενεργή συνεργασία με τους πρωταθλητές</a:t>
            </a:r>
          </a:p>
          <a:p>
            <a:pPr marL="342900" indent="-342900">
              <a:lnSpc>
                <a:spcPts val="2280"/>
              </a:lnSpc>
              <a:spcBef>
                <a:spcPts val="0"/>
              </a:spcBef>
              <a:buFont typeface="Arial" panose="020B0604020202020204" pitchFamily="34" charset="0"/>
              <a:buChar char="•"/>
            </a:pPr>
            <a:r>
              <a:rPr lang="en-US" sz="1600" dirty="0">
                <a:solidFill>
                  <a:schemeClr val="bg1"/>
                </a:solidFill>
              </a:rPr>
              <a:t>Προσπαθήστε να μετατρέψετε τους αποκλειστές σε αποφυλακτικούς</a:t>
            </a:r>
          </a:p>
          <a:p>
            <a:pPr marL="342900" indent="-342900">
              <a:lnSpc>
                <a:spcPts val="2280"/>
              </a:lnSpc>
              <a:spcBef>
                <a:spcPts val="0"/>
              </a:spcBef>
              <a:buFont typeface="Arial" panose="020B0604020202020204" pitchFamily="34" charset="0"/>
              <a:buChar char="•"/>
            </a:pPr>
            <a:r>
              <a:rPr lang="en-US" sz="1600" dirty="0">
                <a:solidFill>
                  <a:schemeClr val="bg1"/>
                </a:solidFill>
              </a:rPr>
              <a:t>Προσπαθήστε να μετατρέψετε τους αποφυλακτικούς σε σιωπηλούς ενισχυτές</a:t>
            </a:r>
          </a:p>
          <a:p>
            <a:pPr marL="342900" indent="-342900">
              <a:lnSpc>
                <a:spcPts val="2280"/>
              </a:lnSpc>
              <a:spcBef>
                <a:spcPts val="0"/>
              </a:spcBef>
              <a:buFont typeface="Arial" panose="020B0604020202020204" pitchFamily="34" charset="0"/>
              <a:buChar char="•"/>
            </a:pPr>
            <a:r>
              <a:rPr lang="en-US" sz="1600" dirty="0">
                <a:solidFill>
                  <a:schemeClr val="bg1"/>
                </a:solidFill>
              </a:rPr>
              <a:t>Προσπαθήστε να μετατρέψετε τους σιωπηλούς ενισχυτές σε πρωταθλητές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4480446" cy="1875850"/>
          </a:xfrm>
        </p:spPr>
        <p:txBody>
          <a:bodyPr>
            <a:normAutofit/>
          </a:bodyPr>
          <a:lstStyle/>
          <a:p>
            <a:r>
              <a:rPr lang="en-GB" dirty="0">
                <a:solidFill>
                  <a:schemeClr val="bg1"/>
                </a:solidFill>
              </a:rPr>
              <a:t>Ανάλυση της θέσης των ενδιαφερομένων στην </a:t>
            </a:r>
            <a:r>
              <a:rPr lang="en-GB" b="1" dirty="0">
                <a:solidFill>
                  <a:schemeClr val="bg1"/>
                </a:solidFill>
              </a:rPr>
              <a:t>αρχή </a:t>
            </a:r>
            <a:r>
              <a:rPr lang="en-GB" dirty="0">
                <a:solidFill>
                  <a:schemeClr val="bg1"/>
                </a:solidFill>
              </a:rPr>
              <a:t>μιας κρίσης</a:t>
            </a:r>
          </a:p>
        </p:txBody>
      </p:sp>
      <p:sp>
        <p:nvSpPr>
          <p:cNvPr id="5" name="Freeform 316">
            <a:extLst>
              <a:ext uri="{FF2B5EF4-FFF2-40B4-BE49-F238E27FC236}">
                <a16:creationId xmlns:a16="http://schemas.microsoft.com/office/drawing/2014/main" id="{B43B32F2-40E3-737C-D114-07F268237A11}"/>
              </a:ext>
            </a:extLst>
          </p:cNvPr>
          <p:cNvSpPr>
            <a:spLocks/>
          </p:cNvSpPr>
          <p:nvPr/>
        </p:nvSpPr>
        <p:spPr bwMode="auto">
          <a:xfrm>
            <a:off x="6867328" y="1289157"/>
            <a:ext cx="2796043" cy="2519547"/>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rgbClr val="7F1C58">
              <a:alpha val="90769"/>
            </a:srgbClr>
          </a:solidFill>
          <a:ln>
            <a:noFill/>
          </a:ln>
        </p:spPr>
        <p:txBody>
          <a:bodyPr wrap="none" anchor="ctr"/>
          <a:lstStyle/>
          <a:p>
            <a:endParaRPr lang="en-GB" sz="2449" dirty="0">
              <a:latin typeface="+mj-lt"/>
            </a:endParaRPr>
          </a:p>
        </p:txBody>
      </p:sp>
      <p:sp>
        <p:nvSpPr>
          <p:cNvPr id="7" name="Freeform 315">
            <a:extLst>
              <a:ext uri="{FF2B5EF4-FFF2-40B4-BE49-F238E27FC236}">
                <a16:creationId xmlns:a16="http://schemas.microsoft.com/office/drawing/2014/main" id="{2E6BDED8-839E-D086-0D8D-9A661079F1F2}"/>
              </a:ext>
            </a:extLst>
          </p:cNvPr>
          <p:cNvSpPr>
            <a:spLocks/>
          </p:cNvSpPr>
          <p:nvPr/>
        </p:nvSpPr>
        <p:spPr bwMode="auto">
          <a:xfrm>
            <a:off x="8921688" y="1289157"/>
            <a:ext cx="2796043" cy="2519547"/>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rgbClr val="B41F7A">
              <a:alpha val="86000"/>
            </a:srgbClr>
          </a:solidFill>
          <a:ln>
            <a:noFill/>
          </a:ln>
        </p:spPr>
        <p:txBody>
          <a:bodyPr wrap="none" anchor="ctr"/>
          <a:lstStyle/>
          <a:p>
            <a:endParaRPr lang="en-GB" sz="2449" dirty="0">
              <a:latin typeface="+mj-lt"/>
            </a:endParaRPr>
          </a:p>
        </p:txBody>
      </p:sp>
      <p:sp>
        <p:nvSpPr>
          <p:cNvPr id="32" name="Freeform 313">
            <a:extLst>
              <a:ext uri="{FF2B5EF4-FFF2-40B4-BE49-F238E27FC236}">
                <a16:creationId xmlns:a16="http://schemas.microsoft.com/office/drawing/2014/main" id="{50343E79-9508-BF60-F955-0E3738368527}"/>
              </a:ext>
            </a:extLst>
          </p:cNvPr>
          <p:cNvSpPr>
            <a:spLocks noChangeArrowheads="1"/>
          </p:cNvSpPr>
          <p:nvPr/>
        </p:nvSpPr>
        <p:spPr bwMode="auto">
          <a:xfrm>
            <a:off x="6867328" y="3247623"/>
            <a:ext cx="2796043" cy="2519547"/>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rgbClr val="F16924">
              <a:alpha val="93203"/>
            </a:srgbClr>
          </a:solidFill>
          <a:ln>
            <a:noFill/>
          </a:ln>
          <a:effectLst/>
        </p:spPr>
        <p:txBody>
          <a:bodyPr wrap="none" anchor="ctr"/>
          <a:lstStyle/>
          <a:p>
            <a:pPr>
              <a:defRPr/>
            </a:pPr>
            <a:endParaRPr lang="en-GB" sz="2449" dirty="0">
              <a:latin typeface="+mj-lt"/>
            </a:endParaRPr>
          </a:p>
        </p:txBody>
      </p:sp>
      <p:sp>
        <p:nvSpPr>
          <p:cNvPr id="33" name="Freeform 314">
            <a:extLst>
              <a:ext uri="{FF2B5EF4-FFF2-40B4-BE49-F238E27FC236}">
                <a16:creationId xmlns:a16="http://schemas.microsoft.com/office/drawing/2014/main" id="{3E0DEA17-3C8D-7D3E-7781-DD4A8ECDD2D7}"/>
              </a:ext>
            </a:extLst>
          </p:cNvPr>
          <p:cNvSpPr>
            <a:spLocks noChangeArrowheads="1"/>
          </p:cNvSpPr>
          <p:nvPr/>
        </p:nvSpPr>
        <p:spPr bwMode="auto">
          <a:xfrm>
            <a:off x="8921692" y="3247623"/>
            <a:ext cx="2796043" cy="2519547"/>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rgbClr val="EDA13E">
              <a:alpha val="90000"/>
            </a:srgbClr>
          </a:solidFill>
          <a:ln>
            <a:noFill/>
          </a:ln>
          <a:effectLst/>
        </p:spPr>
        <p:txBody>
          <a:bodyPr wrap="none" anchor="ctr"/>
          <a:lstStyle/>
          <a:p>
            <a:pPr>
              <a:defRPr/>
            </a:pPr>
            <a:endParaRPr lang="en-GB" sz="2449" dirty="0">
              <a:latin typeface="+mj-lt"/>
            </a:endParaRPr>
          </a:p>
        </p:txBody>
      </p:sp>
      <p:sp>
        <p:nvSpPr>
          <p:cNvPr id="34" name="TextBox 13">
            <a:extLst>
              <a:ext uri="{FF2B5EF4-FFF2-40B4-BE49-F238E27FC236}">
                <a16:creationId xmlns:a16="http://schemas.microsoft.com/office/drawing/2014/main" id="{C8E2D341-9B1B-E737-30D7-1AC5FB3EED24}"/>
              </a:ext>
            </a:extLst>
          </p:cNvPr>
          <p:cNvSpPr txBox="1"/>
          <p:nvPr/>
        </p:nvSpPr>
        <p:spPr>
          <a:xfrm>
            <a:off x="7428753" y="2086547"/>
            <a:ext cx="1393267" cy="523220"/>
          </a:xfrm>
          <a:prstGeom prst="rect">
            <a:avLst/>
          </a:prstGeom>
          <a:noFill/>
        </p:spPr>
        <p:txBody>
          <a:bodyPr wrap="none" rtlCol="0" anchor="ctr">
            <a:spAutoFit/>
          </a:bodyPr>
          <a:lstStyle/>
          <a:p>
            <a:pPr algn="ctr"/>
            <a:r>
              <a:rPr lang="en-GB" sz="2800" dirty="0">
                <a:solidFill>
                  <a:schemeClr val="bg1"/>
                </a:solidFill>
                <a:ea typeface="Source Sans Pro" panose="020B0503030403020204" pitchFamily="34" charset="0"/>
              </a:rPr>
              <a:t>Αποκλειστές</a:t>
            </a:r>
          </a:p>
        </p:txBody>
      </p:sp>
      <p:sp>
        <p:nvSpPr>
          <p:cNvPr id="35" name="TextBox 14">
            <a:extLst>
              <a:ext uri="{FF2B5EF4-FFF2-40B4-BE49-F238E27FC236}">
                <a16:creationId xmlns:a16="http://schemas.microsoft.com/office/drawing/2014/main" id="{EAC5723A-ADB9-B091-6DC8-EC2A289B8B7D}"/>
              </a:ext>
            </a:extLst>
          </p:cNvPr>
          <p:cNvSpPr txBox="1"/>
          <p:nvPr/>
        </p:nvSpPr>
        <p:spPr>
          <a:xfrm>
            <a:off x="9485858" y="2086547"/>
            <a:ext cx="1813317" cy="523220"/>
          </a:xfrm>
          <a:prstGeom prst="rect">
            <a:avLst/>
          </a:prstGeom>
          <a:noFill/>
        </p:spPr>
        <p:txBody>
          <a:bodyPr wrap="none" rtlCol="0" anchor="ctr">
            <a:spAutoFit/>
          </a:bodyPr>
          <a:lstStyle/>
          <a:p>
            <a:pPr algn="ctr"/>
            <a:r>
              <a:rPr lang="en-GB" sz="2800">
                <a:solidFill>
                  <a:schemeClr val="bg1"/>
                </a:solidFill>
                <a:ea typeface="Source Sans Pro" panose="020B0503030403020204" pitchFamily="34" charset="0"/>
              </a:rPr>
              <a:t>Πρωταθλητές</a:t>
            </a:r>
            <a:endParaRPr lang="en-GB" sz="2800" dirty="0">
              <a:solidFill>
                <a:schemeClr val="bg1"/>
              </a:solidFill>
              <a:ea typeface="Source Sans Pro" panose="020B0503030403020204" pitchFamily="34" charset="0"/>
            </a:endParaRPr>
          </a:p>
        </p:txBody>
      </p:sp>
      <p:sp>
        <p:nvSpPr>
          <p:cNvPr id="36" name="TextBox 15">
            <a:extLst>
              <a:ext uri="{FF2B5EF4-FFF2-40B4-BE49-F238E27FC236}">
                <a16:creationId xmlns:a16="http://schemas.microsoft.com/office/drawing/2014/main" id="{B9DC6567-86A2-E6C0-3A94-33EEDB116F25}"/>
              </a:ext>
            </a:extLst>
          </p:cNvPr>
          <p:cNvSpPr txBox="1"/>
          <p:nvPr/>
        </p:nvSpPr>
        <p:spPr>
          <a:xfrm>
            <a:off x="7265791" y="4309619"/>
            <a:ext cx="1719189" cy="400110"/>
          </a:xfrm>
          <a:prstGeom prst="rect">
            <a:avLst/>
          </a:prstGeom>
          <a:noFill/>
        </p:spPr>
        <p:txBody>
          <a:bodyPr wrap="none" rtlCol="0" anchor="ctr">
            <a:spAutoFit/>
          </a:bodyPr>
          <a:lstStyle/>
          <a:p>
            <a:pPr algn="ctr"/>
            <a:r>
              <a:rPr lang="en-GB" sz="2000" dirty="0">
                <a:solidFill>
                  <a:schemeClr val="bg1"/>
                </a:solidFill>
                <a:ea typeface="Source Sans Pro" panose="020B0503030403020204" pitchFamily="34" charset="0"/>
              </a:rPr>
              <a:t>Απ</a:t>
            </a:r>
            <a:r>
              <a:rPr lang="en-GB" sz="2000" dirty="0" err="1">
                <a:solidFill>
                  <a:schemeClr val="bg1"/>
                </a:solidFill>
                <a:ea typeface="Source Sans Pro" panose="020B0503030403020204" pitchFamily="34" charset="0"/>
              </a:rPr>
              <a:t>οφεύγοντες</a:t>
            </a:r>
            <a:endParaRPr lang="en-GB" sz="2000" dirty="0">
              <a:solidFill>
                <a:schemeClr val="bg1"/>
              </a:solidFill>
              <a:ea typeface="Source Sans Pro" panose="020B0503030403020204" pitchFamily="34" charset="0"/>
            </a:endParaRPr>
          </a:p>
        </p:txBody>
      </p:sp>
      <p:sp>
        <p:nvSpPr>
          <p:cNvPr id="37" name="TextBox 16">
            <a:extLst>
              <a:ext uri="{FF2B5EF4-FFF2-40B4-BE49-F238E27FC236}">
                <a16:creationId xmlns:a16="http://schemas.microsoft.com/office/drawing/2014/main" id="{BFDCD7E3-967A-EDB3-23EA-00ABC80711A7}"/>
              </a:ext>
            </a:extLst>
          </p:cNvPr>
          <p:cNvSpPr txBox="1"/>
          <p:nvPr/>
        </p:nvSpPr>
        <p:spPr>
          <a:xfrm>
            <a:off x="9079464" y="4278842"/>
            <a:ext cx="2626105" cy="461665"/>
          </a:xfrm>
          <a:prstGeom prst="rect">
            <a:avLst/>
          </a:prstGeom>
          <a:noFill/>
        </p:spPr>
        <p:txBody>
          <a:bodyPr wrap="none" rtlCol="0" anchor="ctr">
            <a:spAutoFit/>
          </a:bodyPr>
          <a:lstStyle/>
          <a:p>
            <a:pPr algn="ctr"/>
            <a:r>
              <a:rPr lang="en-GB" sz="2400" dirty="0">
                <a:solidFill>
                  <a:schemeClr val="bg1"/>
                </a:solidFill>
                <a:ea typeface="Source Sans Pro" panose="020B0503030403020204" pitchFamily="34" charset="0"/>
              </a:rPr>
              <a:t>Σιωπηλοί ενισχυτές</a:t>
            </a:r>
          </a:p>
        </p:txBody>
      </p:sp>
      <p:cxnSp>
        <p:nvCxnSpPr>
          <p:cNvPr id="38" name="Gerade Verbindung mit Pfeil 5">
            <a:extLst>
              <a:ext uri="{FF2B5EF4-FFF2-40B4-BE49-F238E27FC236}">
                <a16:creationId xmlns:a16="http://schemas.microsoft.com/office/drawing/2014/main" id="{B3DF8680-F993-7481-76E9-98C797C1503C}"/>
              </a:ext>
            </a:extLst>
          </p:cNvPr>
          <p:cNvCxnSpPr>
            <a:cxnSpLocks/>
          </p:cNvCxnSpPr>
          <p:nvPr/>
        </p:nvCxnSpPr>
        <p:spPr>
          <a:xfrm>
            <a:off x="6417615" y="6039883"/>
            <a:ext cx="5228358"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cxnSp>
        <p:nvCxnSpPr>
          <p:cNvPr id="39" name="Gerade Verbindung mit Pfeil 37">
            <a:extLst>
              <a:ext uri="{FF2B5EF4-FFF2-40B4-BE49-F238E27FC236}">
                <a16:creationId xmlns:a16="http://schemas.microsoft.com/office/drawing/2014/main" id="{D4FA430D-FE9D-BFC1-6FC0-CC1639220BE8}"/>
              </a:ext>
            </a:extLst>
          </p:cNvPr>
          <p:cNvCxnSpPr>
            <a:cxnSpLocks/>
          </p:cNvCxnSpPr>
          <p:nvPr/>
        </p:nvCxnSpPr>
        <p:spPr>
          <a:xfrm flipV="1">
            <a:off x="6417615" y="914400"/>
            <a:ext cx="0" cy="5125483"/>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21">
            <a:extLst>
              <a:ext uri="{FF2B5EF4-FFF2-40B4-BE49-F238E27FC236}">
                <a16:creationId xmlns:a16="http://schemas.microsoft.com/office/drawing/2014/main" id="{CAEA5434-C201-71CA-50D4-EA08643D90CE}"/>
              </a:ext>
            </a:extLst>
          </p:cNvPr>
          <p:cNvSpPr txBox="1"/>
          <p:nvPr/>
        </p:nvSpPr>
        <p:spPr>
          <a:xfrm>
            <a:off x="6417615" y="6170298"/>
            <a:ext cx="5192708"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Κοινό συμφέρον</a:t>
            </a:r>
          </a:p>
        </p:txBody>
      </p:sp>
      <p:sp>
        <p:nvSpPr>
          <p:cNvPr id="41" name="TextBox 21">
            <a:extLst>
              <a:ext uri="{FF2B5EF4-FFF2-40B4-BE49-F238E27FC236}">
                <a16:creationId xmlns:a16="http://schemas.microsoft.com/office/drawing/2014/main" id="{FC8AA3D6-F9A4-F877-9C8F-7805A3D7908B}"/>
              </a:ext>
            </a:extLst>
          </p:cNvPr>
          <p:cNvSpPr txBox="1"/>
          <p:nvPr/>
        </p:nvSpPr>
        <p:spPr>
          <a:xfrm rot="5400000">
            <a:off x="3763876" y="3380690"/>
            <a:ext cx="4949055" cy="369332"/>
          </a:xfrm>
          <a:prstGeom prst="rect">
            <a:avLst/>
          </a:prstGeom>
          <a:noFill/>
        </p:spPr>
        <p:txBody>
          <a:bodyPr wrap="square" rtlCol="0" anchor="b" anchorCtr="0">
            <a:spAutoFit/>
          </a:bodyPr>
          <a:lstStyle/>
          <a:p>
            <a:pPr algn="ctr"/>
            <a:r>
              <a:rPr lang="en-GB" b="1" dirty="0">
                <a:solidFill>
                  <a:srgbClr val="595959"/>
                </a:solidFill>
                <a:ea typeface="League Spartan" charset="0"/>
                <a:cs typeface="Poppins" pitchFamily="2" charset="77"/>
              </a:rPr>
              <a:t>Επενδυθείσα ενέργεια</a:t>
            </a:r>
          </a:p>
        </p:txBody>
      </p:sp>
      <p:sp>
        <p:nvSpPr>
          <p:cNvPr id="42" name="TextBox 13">
            <a:extLst>
              <a:ext uri="{FF2B5EF4-FFF2-40B4-BE49-F238E27FC236}">
                <a16:creationId xmlns:a16="http://schemas.microsoft.com/office/drawing/2014/main" id="{8D2ADA10-3862-2E0C-5CA2-4A77914D62B4}"/>
              </a:ext>
            </a:extLst>
          </p:cNvPr>
          <p:cNvSpPr txBox="1"/>
          <p:nvPr/>
        </p:nvSpPr>
        <p:spPr>
          <a:xfrm>
            <a:off x="7261435" y="2533845"/>
            <a:ext cx="1727903"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Ενεργές αντιστάσεις</a:t>
            </a:r>
          </a:p>
        </p:txBody>
      </p:sp>
      <p:sp>
        <p:nvSpPr>
          <p:cNvPr id="43" name="TextBox 14">
            <a:extLst>
              <a:ext uri="{FF2B5EF4-FFF2-40B4-BE49-F238E27FC236}">
                <a16:creationId xmlns:a16="http://schemas.microsoft.com/office/drawing/2014/main" id="{A06D59D7-3941-A514-A518-EAC5EBD6A3E1}"/>
              </a:ext>
            </a:extLst>
          </p:cNvPr>
          <p:cNvSpPr txBox="1"/>
          <p:nvPr/>
        </p:nvSpPr>
        <p:spPr>
          <a:xfrm>
            <a:off x="9548760" y="2576888"/>
            <a:ext cx="1687513"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Ενεργοί υποστηρικτές</a:t>
            </a:r>
          </a:p>
        </p:txBody>
      </p:sp>
      <p:sp>
        <p:nvSpPr>
          <p:cNvPr id="44" name="TextBox 15">
            <a:extLst>
              <a:ext uri="{FF2B5EF4-FFF2-40B4-BE49-F238E27FC236}">
                <a16:creationId xmlns:a16="http://schemas.microsoft.com/office/drawing/2014/main" id="{DDBAA945-641A-3A1C-8776-286D244D6DB0}"/>
              </a:ext>
            </a:extLst>
          </p:cNvPr>
          <p:cNvSpPr txBox="1"/>
          <p:nvPr/>
        </p:nvSpPr>
        <p:spPr>
          <a:xfrm>
            <a:off x="7147633" y="4738365"/>
            <a:ext cx="1955506"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Παθητικές αντιστάσεις</a:t>
            </a:r>
          </a:p>
        </p:txBody>
      </p:sp>
      <p:sp>
        <p:nvSpPr>
          <p:cNvPr id="45" name="TextBox 16">
            <a:extLst>
              <a:ext uri="{FF2B5EF4-FFF2-40B4-BE49-F238E27FC236}">
                <a16:creationId xmlns:a16="http://schemas.microsoft.com/office/drawing/2014/main" id="{BCD33C7E-8101-8ECC-2DA5-B051DF6EBD74}"/>
              </a:ext>
            </a:extLst>
          </p:cNvPr>
          <p:cNvSpPr txBox="1"/>
          <p:nvPr/>
        </p:nvSpPr>
        <p:spPr>
          <a:xfrm>
            <a:off x="9485492" y="4784289"/>
            <a:ext cx="1814049" cy="338554"/>
          </a:xfrm>
          <a:prstGeom prst="rect">
            <a:avLst/>
          </a:prstGeom>
          <a:noFill/>
        </p:spPr>
        <p:txBody>
          <a:bodyPr wrap="square" rtlCol="0" anchor="ctr">
            <a:spAutoFit/>
          </a:bodyPr>
          <a:lstStyle/>
          <a:p>
            <a:pPr algn="ctr"/>
            <a:r>
              <a:rPr lang="en-GB" sz="1600" b="1" dirty="0">
                <a:solidFill>
                  <a:schemeClr val="bg1"/>
                </a:solidFill>
                <a:ea typeface="Source Sans Pro" panose="020B0503030403020204" pitchFamily="34" charset="0"/>
              </a:rPr>
              <a:t>Παθητικοί υποστηρικτές</a:t>
            </a:r>
          </a:p>
        </p:txBody>
      </p:sp>
      <p:sp>
        <p:nvSpPr>
          <p:cNvPr id="46" name="Rectangle 45">
            <a:extLst>
              <a:ext uri="{FF2B5EF4-FFF2-40B4-BE49-F238E27FC236}">
                <a16:creationId xmlns:a16="http://schemas.microsoft.com/office/drawing/2014/main" id="{0BFEFE3E-83F0-94C6-FF41-9FEC2E496AE6}"/>
              </a:ext>
            </a:extLst>
          </p:cNvPr>
          <p:cNvSpPr/>
          <p:nvPr/>
        </p:nvSpPr>
        <p:spPr>
          <a:xfrm>
            <a:off x="474265" y="231620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6127353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71946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728073" y="406400"/>
            <a:ext cx="7057528"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dirty="0">
                <a:solidFill>
                  <a:schemeClr val="bg1"/>
                </a:solidFill>
              </a:rPr>
              <a:t>Στόχος της διαχείρισης κρίσεων είναι να εξαλειφθεί η πιθανή ζημία και να επιτραπεί στον </a:t>
            </a:r>
            <a:r>
              <a:rPr lang="en-US" dirty="0" err="1">
                <a:solidFill>
                  <a:schemeClr val="bg1"/>
                </a:solidFill>
              </a:rPr>
              <a:t>οργανισμό </a:t>
            </a:r>
            <a:r>
              <a:rPr lang="en-US" dirty="0">
                <a:solidFill>
                  <a:schemeClr val="bg1"/>
                </a:solidFill>
              </a:rPr>
              <a:t>να συνεχίσει την εκτέλεση της στρατηγικής του.  Κατά τη διάρκεια της επιχειρηματικής κρίσης, η επικοινωνία με τα κύρια ενδιαφερόμενα μέρη είναι απαραίτητη.</a:t>
            </a:r>
          </a:p>
          <a:p>
            <a:pPr marL="15875" indent="-15875">
              <a:lnSpc>
                <a:spcPct val="150000"/>
              </a:lnSpc>
            </a:pPr>
            <a:endParaRPr lang="en-US" sz="800" dirty="0">
              <a:solidFill>
                <a:schemeClr val="bg1"/>
              </a:solidFill>
            </a:endParaRPr>
          </a:p>
          <a:p>
            <a:pPr marL="15875" indent="-15875"/>
            <a:r>
              <a:rPr lang="en-US" b="1" dirty="0">
                <a:solidFill>
                  <a:schemeClr val="bg1"/>
                </a:solidFill>
              </a:rPr>
              <a:t>Η επικοινωνία σε επιχειρηματικές κρίσεις έχει τους ακόλουθους κύριους στόχους:</a:t>
            </a:r>
          </a:p>
          <a:p>
            <a:pPr marL="15875" indent="-15875"/>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2"/>
            <a:ext cx="3666420" cy="2170180"/>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Στρατηγικοί στόχοι της επικοινωνίας </a:t>
            </a:r>
            <a:r>
              <a:rPr lang="en-GB" b="1" dirty="0">
                <a:solidFill>
                  <a:schemeClr val="bg1"/>
                </a:solidFill>
              </a:rPr>
              <a:t>κατά τη διάρκεια </a:t>
            </a:r>
            <a:r>
              <a:rPr lang="en-GB" dirty="0">
                <a:solidFill>
                  <a:schemeClr val="bg1"/>
                </a:solidFill>
              </a:rPr>
              <a:t>μιας κρίσης</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327159" y="1293888"/>
            <a:ext cx="205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 name="Gruppieren 3">
            <a:extLst>
              <a:ext uri="{FF2B5EF4-FFF2-40B4-BE49-F238E27FC236}">
                <a16:creationId xmlns:a16="http://schemas.microsoft.com/office/drawing/2014/main" id="{A48ED906-58BC-1727-FFA0-BF2B2756959F}"/>
              </a:ext>
            </a:extLst>
          </p:cNvPr>
          <p:cNvGrpSpPr/>
          <p:nvPr/>
        </p:nvGrpSpPr>
        <p:grpSpPr>
          <a:xfrm>
            <a:off x="530826" y="2854387"/>
            <a:ext cx="10896391" cy="3448907"/>
            <a:chOff x="3649227" y="1891861"/>
            <a:chExt cx="12559024" cy="4080288"/>
          </a:xfrm>
        </p:grpSpPr>
        <p:sp>
          <p:nvSpPr>
            <p:cNvPr id="3" name="Pentagon 6">
              <a:extLst>
                <a:ext uri="{FF2B5EF4-FFF2-40B4-BE49-F238E27FC236}">
                  <a16:creationId xmlns:a16="http://schemas.microsoft.com/office/drawing/2014/main" id="{51679894-A8DD-CC6C-2583-05C0FB96D719}"/>
                </a:ext>
              </a:extLst>
            </p:cNvPr>
            <p:cNvSpPr/>
            <p:nvPr/>
          </p:nvSpPr>
          <p:spPr>
            <a:xfrm>
              <a:off x="7915823" y="3106373"/>
              <a:ext cx="8147109" cy="839242"/>
            </a:xfrm>
            <a:prstGeom prst="homePlate">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4" name="Pentagon 7">
              <a:extLst>
                <a:ext uri="{FF2B5EF4-FFF2-40B4-BE49-F238E27FC236}">
                  <a16:creationId xmlns:a16="http://schemas.microsoft.com/office/drawing/2014/main" id="{363E3A73-614F-75D6-E873-1C955787EDE5}"/>
                </a:ext>
              </a:extLst>
            </p:cNvPr>
            <p:cNvSpPr/>
            <p:nvPr/>
          </p:nvSpPr>
          <p:spPr>
            <a:xfrm>
              <a:off x="7925556" y="3874279"/>
              <a:ext cx="8282687" cy="824473"/>
            </a:xfrm>
            <a:prstGeom prst="homePlate">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5" name="Pentagon 8">
              <a:extLst>
                <a:ext uri="{FF2B5EF4-FFF2-40B4-BE49-F238E27FC236}">
                  <a16:creationId xmlns:a16="http://schemas.microsoft.com/office/drawing/2014/main" id="{51F02347-1C8D-7E95-F646-53EDAC520403}"/>
                </a:ext>
              </a:extLst>
            </p:cNvPr>
            <p:cNvSpPr/>
            <p:nvPr/>
          </p:nvSpPr>
          <p:spPr>
            <a:xfrm>
              <a:off x="7925556" y="4694375"/>
              <a:ext cx="8282695" cy="844078"/>
            </a:xfrm>
            <a:prstGeom prst="homePlate">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6" name="Pentagon 9">
              <a:extLst>
                <a:ext uri="{FF2B5EF4-FFF2-40B4-BE49-F238E27FC236}">
                  <a16:creationId xmlns:a16="http://schemas.microsoft.com/office/drawing/2014/main" id="{21378E91-5A8F-9C56-CC70-41B2F462B7C2}"/>
                </a:ext>
              </a:extLst>
            </p:cNvPr>
            <p:cNvSpPr/>
            <p:nvPr/>
          </p:nvSpPr>
          <p:spPr>
            <a:xfrm>
              <a:off x="7915824" y="2301045"/>
              <a:ext cx="8066168" cy="824473"/>
            </a:xfrm>
            <a:prstGeom prst="homePlate">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7" name="Rectangle 10">
              <a:extLst>
                <a:ext uri="{FF2B5EF4-FFF2-40B4-BE49-F238E27FC236}">
                  <a16:creationId xmlns:a16="http://schemas.microsoft.com/office/drawing/2014/main" id="{B0BC658F-F251-F2E8-D79B-90A22413AD4E}"/>
                </a:ext>
              </a:extLst>
            </p:cNvPr>
            <p:cNvSpPr/>
            <p:nvPr/>
          </p:nvSpPr>
          <p:spPr>
            <a:xfrm>
              <a:off x="5657923" y="3427445"/>
              <a:ext cx="1798582" cy="519724"/>
            </a:xfrm>
            <a:prstGeom prst="rect">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8" name="Rectangle 11">
              <a:extLst>
                <a:ext uri="{FF2B5EF4-FFF2-40B4-BE49-F238E27FC236}">
                  <a16:creationId xmlns:a16="http://schemas.microsoft.com/office/drawing/2014/main" id="{B3A4E317-B5E9-4079-BA39-2C39005E1335}"/>
                </a:ext>
              </a:extLst>
            </p:cNvPr>
            <p:cNvSpPr/>
            <p:nvPr/>
          </p:nvSpPr>
          <p:spPr>
            <a:xfrm>
              <a:off x="5661365" y="3876235"/>
              <a:ext cx="1795141" cy="506237"/>
            </a:xfrm>
            <a:prstGeom prst="rect">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9" name="Rectangle 12">
              <a:extLst>
                <a:ext uri="{FF2B5EF4-FFF2-40B4-BE49-F238E27FC236}">
                  <a16:creationId xmlns:a16="http://schemas.microsoft.com/office/drawing/2014/main" id="{115F0692-E55B-F7B0-8437-0F40FD23DBEA}"/>
                </a:ext>
              </a:extLst>
            </p:cNvPr>
            <p:cNvSpPr/>
            <p:nvPr/>
          </p:nvSpPr>
          <p:spPr>
            <a:xfrm>
              <a:off x="5658941" y="4383904"/>
              <a:ext cx="1819439" cy="587028"/>
            </a:xfrm>
            <a:prstGeom prst="rect">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sp>
          <p:nvSpPr>
            <p:cNvPr id="10" name="Rectangle 13">
              <a:extLst>
                <a:ext uri="{FF2B5EF4-FFF2-40B4-BE49-F238E27FC236}">
                  <a16:creationId xmlns:a16="http://schemas.microsoft.com/office/drawing/2014/main" id="{0F8E1343-C0D7-DB91-F776-47B569B52387}"/>
                </a:ext>
              </a:extLst>
            </p:cNvPr>
            <p:cNvSpPr/>
            <p:nvPr/>
          </p:nvSpPr>
          <p:spPr>
            <a:xfrm>
              <a:off x="5638612" y="2884053"/>
              <a:ext cx="1862293" cy="544947"/>
            </a:xfrm>
            <a:prstGeom prst="rect">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ts val="2240"/>
                </a:lnSpc>
              </a:pPr>
              <a:endParaRPr lang="en-GB" sz="2200" dirty="0"/>
            </a:p>
          </p:txBody>
        </p:sp>
        <p:grpSp>
          <p:nvGrpSpPr>
            <p:cNvPr id="11" name="Group 14">
              <a:extLst>
                <a:ext uri="{FF2B5EF4-FFF2-40B4-BE49-F238E27FC236}">
                  <a16:creationId xmlns:a16="http://schemas.microsoft.com/office/drawing/2014/main" id="{DA218EA2-FA36-47EE-14D7-EF6B2F0FF4A2}"/>
                </a:ext>
              </a:extLst>
            </p:cNvPr>
            <p:cNvGrpSpPr/>
            <p:nvPr/>
          </p:nvGrpSpPr>
          <p:grpSpPr>
            <a:xfrm>
              <a:off x="7456505" y="2285407"/>
              <a:ext cx="469052" cy="1661763"/>
              <a:chOff x="413581" y="698501"/>
              <a:chExt cx="556244" cy="1970670"/>
            </a:xfrm>
          </p:grpSpPr>
          <p:sp>
            <p:nvSpPr>
              <p:cNvPr id="29" name="Freeform 15">
                <a:extLst>
                  <a:ext uri="{FF2B5EF4-FFF2-40B4-BE49-F238E27FC236}">
                    <a16:creationId xmlns:a16="http://schemas.microsoft.com/office/drawing/2014/main" id="{201E2E5C-5A73-EE7A-CB5D-B8CE5D4B4630}"/>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30" name="Freeform 16">
                <a:extLst>
                  <a:ext uri="{FF2B5EF4-FFF2-40B4-BE49-F238E27FC236}">
                    <a16:creationId xmlns:a16="http://schemas.microsoft.com/office/drawing/2014/main" id="{91D914CC-592C-FD3C-7E16-5181AC0D5835}"/>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grpSp>
        <p:sp>
          <p:nvSpPr>
            <p:cNvPr id="12" name="Freeform 11">
              <a:extLst>
                <a:ext uri="{FF2B5EF4-FFF2-40B4-BE49-F238E27FC236}">
                  <a16:creationId xmlns:a16="http://schemas.microsoft.com/office/drawing/2014/main" id="{AA8EA921-0E73-70C2-E5F6-A1C35C502359}"/>
                </a:ext>
              </a:extLst>
            </p:cNvPr>
            <p:cNvSpPr/>
            <p:nvPr/>
          </p:nvSpPr>
          <p:spPr>
            <a:xfrm flipV="1">
              <a:off x="7456725" y="4327228"/>
              <a:ext cx="468830" cy="1229672"/>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3" name="Freeform 12">
              <a:extLst>
                <a:ext uri="{FF2B5EF4-FFF2-40B4-BE49-F238E27FC236}">
                  <a16:creationId xmlns:a16="http://schemas.microsoft.com/office/drawing/2014/main" id="{36325E37-FE82-378D-8A71-880D5E3F5BA5}"/>
                </a:ext>
              </a:extLst>
            </p:cNvPr>
            <p:cNvSpPr/>
            <p:nvPr/>
          </p:nvSpPr>
          <p:spPr>
            <a:xfrm flipV="1">
              <a:off x="7456503" y="3876236"/>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lnSpc>
                  <a:spcPts val="2240"/>
                </a:lnSpc>
              </a:pPr>
              <a:endParaRPr lang="en-GB" sz="2200" dirty="0"/>
            </a:p>
          </p:txBody>
        </p:sp>
        <p:sp>
          <p:nvSpPr>
            <p:cNvPr id="14" name="Freeform 3">
              <a:extLst>
                <a:ext uri="{FF2B5EF4-FFF2-40B4-BE49-F238E27FC236}">
                  <a16:creationId xmlns:a16="http://schemas.microsoft.com/office/drawing/2014/main" id="{09972734-09AC-2235-2184-499FD38DCEBD}"/>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pPr>
                <a:lnSpc>
                  <a:spcPts val="2240"/>
                </a:lnSpc>
              </a:pPr>
              <a:endParaRPr lang="en-GB" sz="2200" dirty="0"/>
            </a:p>
          </p:txBody>
        </p:sp>
        <p:sp>
          <p:nvSpPr>
            <p:cNvPr id="15" name="Freeform 4">
              <a:extLst>
                <a:ext uri="{FF2B5EF4-FFF2-40B4-BE49-F238E27FC236}">
                  <a16:creationId xmlns:a16="http://schemas.microsoft.com/office/drawing/2014/main" id="{2BB2C558-C99C-654B-7F92-D3444FBB6B62}"/>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6" name="Freeform 5">
              <a:extLst>
                <a:ext uri="{FF2B5EF4-FFF2-40B4-BE49-F238E27FC236}">
                  <a16:creationId xmlns:a16="http://schemas.microsoft.com/office/drawing/2014/main" id="{A414E128-D888-FA82-7329-563397ECF6C3}"/>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rgbClr val="EDA13E"/>
            </a:solidFill>
            <a:ln>
              <a:noFill/>
            </a:ln>
            <a:effectLst/>
          </p:spPr>
          <p:txBody>
            <a:bodyPr wrap="square" anchor="ctr">
              <a:noAutofit/>
            </a:bodyPr>
            <a:lstStyle/>
            <a:p>
              <a:pPr>
                <a:lnSpc>
                  <a:spcPts val="2240"/>
                </a:lnSpc>
              </a:pPr>
              <a:endParaRPr lang="en-GB" sz="2200" dirty="0"/>
            </a:p>
          </p:txBody>
        </p:sp>
        <p:sp>
          <p:nvSpPr>
            <p:cNvPr id="17" name="Freeform 10">
              <a:extLst>
                <a:ext uri="{FF2B5EF4-FFF2-40B4-BE49-F238E27FC236}">
                  <a16:creationId xmlns:a16="http://schemas.microsoft.com/office/drawing/2014/main" id="{E22F5F9F-8DC0-9836-1ADC-C5F5E2EAC0CE}"/>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rgbClr val="B41F7A"/>
            </a:solidFill>
            <a:ln>
              <a:noFill/>
            </a:ln>
            <a:effectLst/>
          </p:spPr>
          <p:txBody>
            <a:bodyPr wrap="none" anchor="ctr"/>
            <a:lstStyle/>
            <a:p>
              <a:pPr>
                <a:lnSpc>
                  <a:spcPts val="2240"/>
                </a:lnSpc>
              </a:pPr>
              <a:endParaRPr lang="en-GB" sz="2200" dirty="0"/>
            </a:p>
          </p:txBody>
        </p:sp>
        <p:sp>
          <p:nvSpPr>
            <p:cNvPr id="18" name="Freeform 11">
              <a:extLst>
                <a:ext uri="{FF2B5EF4-FFF2-40B4-BE49-F238E27FC236}">
                  <a16:creationId xmlns:a16="http://schemas.microsoft.com/office/drawing/2014/main" id="{DD56EF60-A3C0-9BE9-101A-C9A5363FD8B0}"/>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19" name="Freeform 14">
              <a:extLst>
                <a:ext uri="{FF2B5EF4-FFF2-40B4-BE49-F238E27FC236}">
                  <a16:creationId xmlns:a16="http://schemas.microsoft.com/office/drawing/2014/main" id="{29887712-B25C-0149-E5C7-64BA48879A26}"/>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rgbClr val="7F1C58"/>
            </a:solidFill>
            <a:ln>
              <a:noFill/>
            </a:ln>
            <a:effectLst/>
          </p:spPr>
          <p:txBody>
            <a:bodyPr wrap="none" anchor="ctr"/>
            <a:lstStyle/>
            <a:p>
              <a:pPr>
                <a:lnSpc>
                  <a:spcPts val="2240"/>
                </a:lnSpc>
              </a:pPr>
              <a:endParaRPr lang="en-GB" sz="2200" dirty="0"/>
            </a:p>
          </p:txBody>
        </p:sp>
        <p:sp>
          <p:nvSpPr>
            <p:cNvPr id="20" name="Freeform 11">
              <a:extLst>
                <a:ext uri="{FF2B5EF4-FFF2-40B4-BE49-F238E27FC236}">
                  <a16:creationId xmlns:a16="http://schemas.microsoft.com/office/drawing/2014/main" id="{16BC5759-FE97-1C72-6626-55A725DE0018}"/>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1" name="Freeform 8">
              <a:extLst>
                <a:ext uri="{FF2B5EF4-FFF2-40B4-BE49-F238E27FC236}">
                  <a16:creationId xmlns:a16="http://schemas.microsoft.com/office/drawing/2014/main" id="{A34759E6-067C-18E4-C6DD-E5343F377FE9}"/>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rgbClr val="F16924"/>
            </a:solidFill>
            <a:ln>
              <a:noFill/>
            </a:ln>
            <a:effectLst/>
          </p:spPr>
          <p:txBody>
            <a:bodyPr wrap="none" anchor="ctr"/>
            <a:lstStyle/>
            <a:p>
              <a:pPr>
                <a:lnSpc>
                  <a:spcPts val="2240"/>
                </a:lnSpc>
              </a:pPr>
              <a:endParaRPr lang="en-GB" sz="2200" dirty="0"/>
            </a:p>
          </p:txBody>
        </p:sp>
        <p:sp>
          <p:nvSpPr>
            <p:cNvPr id="22" name="Freeform 11">
              <a:extLst>
                <a:ext uri="{FF2B5EF4-FFF2-40B4-BE49-F238E27FC236}">
                  <a16:creationId xmlns:a16="http://schemas.microsoft.com/office/drawing/2014/main" id="{74BC2670-85DC-6CC1-1C52-586F5AE2A64D}"/>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3" name="Freeform 12">
              <a:extLst>
                <a:ext uri="{FF2B5EF4-FFF2-40B4-BE49-F238E27FC236}">
                  <a16:creationId xmlns:a16="http://schemas.microsoft.com/office/drawing/2014/main" id="{0E50C251-9073-4A1D-EBF1-6FB43FCC536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rgbClr val="EDA13E"/>
            </a:solidFill>
            <a:ln>
              <a:noFill/>
            </a:ln>
            <a:effectLst/>
          </p:spPr>
          <p:txBody>
            <a:bodyPr wrap="none" anchor="ctr"/>
            <a:lstStyle/>
            <a:p>
              <a:pPr>
                <a:lnSpc>
                  <a:spcPts val="2240"/>
                </a:lnSpc>
              </a:pPr>
              <a:endParaRPr lang="en-GB" sz="2200" dirty="0"/>
            </a:p>
          </p:txBody>
        </p:sp>
        <p:sp>
          <p:nvSpPr>
            <p:cNvPr id="24" name="Freeform 11">
              <a:extLst>
                <a:ext uri="{FF2B5EF4-FFF2-40B4-BE49-F238E27FC236}">
                  <a16:creationId xmlns:a16="http://schemas.microsoft.com/office/drawing/2014/main" id="{F7B836AF-F226-837B-CE68-3022C40FC547}"/>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pPr>
                <a:lnSpc>
                  <a:spcPts val="2240"/>
                </a:lnSpc>
              </a:pPr>
              <a:endParaRPr lang="en-GB" sz="2200" dirty="0"/>
            </a:p>
          </p:txBody>
        </p:sp>
        <p:sp>
          <p:nvSpPr>
            <p:cNvPr id="25" name="Subtitle 2">
              <a:extLst>
                <a:ext uri="{FF2B5EF4-FFF2-40B4-BE49-F238E27FC236}">
                  <a16:creationId xmlns:a16="http://schemas.microsoft.com/office/drawing/2014/main" id="{7F34F617-A65C-870A-8FAB-5026E7B682F7}"/>
                </a:ext>
              </a:extLst>
            </p:cNvPr>
            <p:cNvSpPr txBox="1">
              <a:spLocks/>
            </p:cNvSpPr>
            <p:nvPr/>
          </p:nvSpPr>
          <p:spPr>
            <a:xfrm>
              <a:off x="8133536" y="4786375"/>
              <a:ext cx="7593079" cy="7696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000" dirty="0">
                  <a:solidFill>
                    <a:schemeClr val="bg1"/>
                  </a:solidFill>
                  <a:latin typeface="+mn-lt"/>
                  <a:ea typeface="Lato Light" panose="020F0502020204030203" pitchFamily="34" charset="0"/>
                  <a:cs typeface="Mukta ExtraLight" panose="020B0000000000000000" pitchFamily="34" charset="77"/>
                </a:rPr>
                <a:t>Συνεργασία με τις τοπικές, πολιτειακές </a:t>
              </a:r>
              <a:r>
                <a:rPr lang="en-GB" sz="2000" dirty="0" err="1">
                  <a:solidFill>
                    <a:schemeClr val="bg1"/>
                  </a:solidFill>
                  <a:latin typeface="+mn-lt"/>
                  <a:ea typeface="Lato Light" panose="020F0502020204030203" pitchFamily="34" charset="0"/>
                  <a:cs typeface="Mukta ExtraLight" panose="020B0000000000000000" pitchFamily="34" charset="77"/>
                </a:rPr>
                <a:t>και ομοσπονδιακές </a:t>
              </a:r>
              <a:r>
                <a:rPr lang="en-GB" sz="2000" dirty="0">
                  <a:solidFill>
                    <a:schemeClr val="bg1"/>
                  </a:solidFill>
                  <a:latin typeface="+mn-lt"/>
                  <a:ea typeface="Lato Light" panose="020F0502020204030203" pitchFamily="34" charset="0"/>
                  <a:cs typeface="Mukta ExtraLight" panose="020B0000000000000000" pitchFamily="34" charset="77"/>
                </a:rPr>
                <a:t>αρχές για την ταχεία επιστροφή στην "κανονικότητα".</a:t>
              </a:r>
            </a:p>
          </p:txBody>
        </p:sp>
        <p:sp>
          <p:nvSpPr>
            <p:cNvPr id="26" name="Subtitle 2">
              <a:extLst>
                <a:ext uri="{FF2B5EF4-FFF2-40B4-BE49-F238E27FC236}">
                  <a16:creationId xmlns:a16="http://schemas.microsoft.com/office/drawing/2014/main" id="{73963132-03E0-E3C9-E042-D2786256EEA4}"/>
                </a:ext>
              </a:extLst>
            </p:cNvPr>
            <p:cNvSpPr txBox="1">
              <a:spLocks/>
            </p:cNvSpPr>
            <p:nvPr/>
          </p:nvSpPr>
          <p:spPr>
            <a:xfrm>
              <a:off x="8089149" y="2497803"/>
              <a:ext cx="7316931"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Πρόληψη της απώλειας της εμπιστοσύνης και του ηθικού των εργαζομένων</a:t>
              </a:r>
            </a:p>
          </p:txBody>
        </p:sp>
        <p:sp>
          <p:nvSpPr>
            <p:cNvPr id="27" name="Subtitle 2">
              <a:extLst>
                <a:ext uri="{FF2B5EF4-FFF2-40B4-BE49-F238E27FC236}">
                  <a16:creationId xmlns:a16="http://schemas.microsoft.com/office/drawing/2014/main" id="{82CEE779-11EF-44F2-3260-BDF4692EACFF}"/>
                </a:ext>
              </a:extLst>
            </p:cNvPr>
            <p:cNvSpPr txBox="1">
              <a:spLocks/>
            </p:cNvSpPr>
            <p:nvPr/>
          </p:nvSpPr>
          <p:spPr>
            <a:xfrm>
              <a:off x="8075540" y="3319186"/>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Διατήρηση ή γρήγορη αποκατάσταση των λειτουργιών</a:t>
              </a:r>
            </a:p>
          </p:txBody>
        </p:sp>
        <p:sp>
          <p:nvSpPr>
            <p:cNvPr id="28" name="Subtitle 2">
              <a:extLst>
                <a:ext uri="{FF2B5EF4-FFF2-40B4-BE49-F238E27FC236}">
                  <a16:creationId xmlns:a16="http://schemas.microsoft.com/office/drawing/2014/main" id="{DA871D19-5116-01DB-4F7F-89893C50E405}"/>
                </a:ext>
              </a:extLst>
            </p:cNvPr>
            <p:cNvSpPr txBox="1">
              <a:spLocks/>
            </p:cNvSpPr>
            <p:nvPr/>
          </p:nvSpPr>
          <p:spPr>
            <a:xfrm>
              <a:off x="8069833" y="4159608"/>
              <a:ext cx="6814224" cy="43586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pPr>
              <a:r>
                <a:rPr lang="en-GB" sz="2200" dirty="0">
                  <a:solidFill>
                    <a:schemeClr val="bg1"/>
                  </a:solidFill>
                  <a:latin typeface="+mn-lt"/>
                  <a:ea typeface="Lato Light" panose="020F0502020204030203" pitchFamily="34" charset="0"/>
                  <a:cs typeface="Mukta ExtraLight" panose="020B0000000000000000" pitchFamily="34" charset="77"/>
                </a:rPr>
                <a:t>Αποκατάσταση της εμπιστοσύνης των πελατών, των προμηθευτών</a:t>
              </a:r>
            </a:p>
          </p:txBody>
        </p:sp>
      </p:grpSp>
    </p:spTree>
    <p:extLst>
      <p:ext uri="{BB962C8B-B14F-4D97-AF65-F5344CB8AC3E}">
        <p14:creationId xmlns:p14="http://schemas.microsoft.com/office/powerpoint/2010/main" val="331601972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580241" y="406400"/>
            <a:ext cx="7205360"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Κατά τη διάρκεια της κρίσης, ισχύει πρώτα απ' όλα ένας σημαντικός βασικός κανόνας για την επικοινωνία με τα ενδιαφερόμενα μέρη: </a:t>
            </a:r>
          </a:p>
          <a:p>
            <a:pPr marL="342900" indent="-342900">
              <a:buFont typeface="Arial" panose="020B0604020202020204" pitchFamily="34" charset="0"/>
              <a:buChar char="•"/>
            </a:pPr>
            <a:r>
              <a:rPr lang="en-US" dirty="0">
                <a:solidFill>
                  <a:schemeClr val="bg1"/>
                </a:solidFill>
              </a:rPr>
              <a:t>Να επικοινωνείτε ανοιχτά, διαφανώς και τακτικά</a:t>
            </a:r>
          </a:p>
          <a:p>
            <a:pPr marL="342900" indent="-342900">
              <a:buFont typeface="Arial" panose="020B0604020202020204" pitchFamily="34" charset="0"/>
              <a:buChar char="•"/>
            </a:pPr>
            <a:r>
              <a:rPr lang="en-US" dirty="0">
                <a:solidFill>
                  <a:schemeClr val="bg1"/>
                </a:solidFill>
              </a:rPr>
              <a:t>Πρώτα απ' όλα, είναι θέμα διατήρησης ή αποκατάστασης της εμπιστοσύνης</a:t>
            </a:r>
          </a:p>
          <a:p>
            <a:pPr marL="342900" indent="-342900">
              <a:buFont typeface="Arial" panose="020B0604020202020204" pitchFamily="34" charset="0"/>
              <a:buChar char="•"/>
            </a:pPr>
            <a:r>
              <a:rPr lang="en-US" dirty="0">
                <a:solidFill>
                  <a:schemeClr val="bg1"/>
                </a:solidFill>
              </a:rPr>
              <a:t>Η ειλικρίνεια είναι η απόλυτη προϋπόθεση γι' αυτό.</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53186"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Βασικοί κανόνες επικοινωνίας </a:t>
            </a:r>
            <a:r>
              <a:rPr lang="en-GB" b="1" dirty="0">
                <a:solidFill>
                  <a:schemeClr val="bg1"/>
                </a:solidFill>
              </a:rPr>
              <a:t>κατά τη διάρκεια </a:t>
            </a:r>
            <a:r>
              <a:rPr lang="en-GB" dirty="0">
                <a:solidFill>
                  <a:schemeClr val="bg1"/>
                </a:solidFill>
              </a:rPr>
              <a:t>μιας κρίσης</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3422708" y="1114148"/>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Freeform 13">
            <a:extLst>
              <a:ext uri="{FF2B5EF4-FFF2-40B4-BE49-F238E27FC236}">
                <a16:creationId xmlns:a16="http://schemas.microsoft.com/office/drawing/2014/main" id="{68DF6A12-DC8F-0CBF-987D-96F84BC1667E}"/>
              </a:ext>
            </a:extLst>
          </p:cNvPr>
          <p:cNvSpPr>
            <a:spLocks noChangeArrowheads="1"/>
          </p:cNvSpPr>
          <p:nvPr/>
        </p:nvSpPr>
        <p:spPr bwMode="auto">
          <a:xfrm>
            <a:off x="4451582" y="3287685"/>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bg1">
              <a:lumMod val="75000"/>
            </a:schemeClr>
          </a:solidFill>
          <a:ln>
            <a:solidFill>
              <a:schemeClr val="bg1">
                <a:lumMod val="75000"/>
              </a:schemeClr>
            </a:solidFill>
          </a:ln>
          <a:effectLst/>
        </p:spPr>
        <p:txBody>
          <a:bodyPr wrap="none" anchor="ctr"/>
          <a:lstStyle/>
          <a:p>
            <a:endParaRPr lang="en-GB" sz="1400" dirty="0">
              <a:latin typeface="+mj-lt"/>
            </a:endParaRPr>
          </a:p>
        </p:txBody>
      </p:sp>
      <p:sp>
        <p:nvSpPr>
          <p:cNvPr id="10" name="Oval 12">
            <a:extLst>
              <a:ext uri="{FF2B5EF4-FFF2-40B4-BE49-F238E27FC236}">
                <a16:creationId xmlns:a16="http://schemas.microsoft.com/office/drawing/2014/main" id="{26182324-955D-2512-3397-F4715B2889C0}"/>
              </a:ext>
            </a:extLst>
          </p:cNvPr>
          <p:cNvSpPr/>
          <p:nvPr/>
        </p:nvSpPr>
        <p:spPr>
          <a:xfrm>
            <a:off x="4684239" y="3018633"/>
            <a:ext cx="968519" cy="96851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13">
            <a:extLst>
              <a:ext uri="{FF2B5EF4-FFF2-40B4-BE49-F238E27FC236}">
                <a16:creationId xmlns:a16="http://schemas.microsoft.com/office/drawing/2014/main" id="{4BFC24C8-A558-CCF5-4161-EE8BA3F57C25}"/>
              </a:ext>
            </a:extLst>
          </p:cNvPr>
          <p:cNvSpPr/>
          <p:nvPr/>
        </p:nvSpPr>
        <p:spPr>
          <a:xfrm>
            <a:off x="6159076" y="3018633"/>
            <a:ext cx="968519" cy="968519"/>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6">
            <a:extLst>
              <a:ext uri="{FF2B5EF4-FFF2-40B4-BE49-F238E27FC236}">
                <a16:creationId xmlns:a16="http://schemas.microsoft.com/office/drawing/2014/main" id="{2B972B9E-2F9B-38B4-027C-CB8DA52EC78E}"/>
              </a:ext>
            </a:extLst>
          </p:cNvPr>
          <p:cNvSpPr/>
          <p:nvPr/>
        </p:nvSpPr>
        <p:spPr>
          <a:xfrm>
            <a:off x="4684239" y="5497119"/>
            <a:ext cx="968519" cy="968519"/>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7">
            <a:extLst>
              <a:ext uri="{FF2B5EF4-FFF2-40B4-BE49-F238E27FC236}">
                <a16:creationId xmlns:a16="http://schemas.microsoft.com/office/drawing/2014/main" id="{D485D8FC-AD3B-4200-F617-2FEA93989329}"/>
              </a:ext>
            </a:extLst>
          </p:cNvPr>
          <p:cNvSpPr/>
          <p:nvPr/>
        </p:nvSpPr>
        <p:spPr>
          <a:xfrm>
            <a:off x="6159076" y="5497119"/>
            <a:ext cx="968519" cy="968519"/>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8">
            <a:extLst>
              <a:ext uri="{FF2B5EF4-FFF2-40B4-BE49-F238E27FC236}">
                <a16:creationId xmlns:a16="http://schemas.microsoft.com/office/drawing/2014/main" id="{A5BE383B-0B52-D060-D4BF-EE8CF700108F}"/>
              </a:ext>
            </a:extLst>
          </p:cNvPr>
          <p:cNvSpPr/>
          <p:nvPr/>
        </p:nvSpPr>
        <p:spPr>
          <a:xfrm>
            <a:off x="678419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9">
            <a:extLst>
              <a:ext uri="{FF2B5EF4-FFF2-40B4-BE49-F238E27FC236}">
                <a16:creationId xmlns:a16="http://schemas.microsoft.com/office/drawing/2014/main" id="{E4F6FD93-F082-86D4-4E97-E1535A31EC34}"/>
              </a:ext>
            </a:extLst>
          </p:cNvPr>
          <p:cNvSpPr/>
          <p:nvPr/>
        </p:nvSpPr>
        <p:spPr>
          <a:xfrm>
            <a:off x="4059118" y="4242942"/>
            <a:ext cx="968519" cy="968519"/>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Freeform 951">
            <a:extLst>
              <a:ext uri="{FF2B5EF4-FFF2-40B4-BE49-F238E27FC236}">
                <a16:creationId xmlns:a16="http://schemas.microsoft.com/office/drawing/2014/main" id="{AA0AF4BE-7359-3E55-0DEC-160746841A5B}"/>
              </a:ext>
            </a:extLst>
          </p:cNvPr>
          <p:cNvSpPr>
            <a:spLocks noChangeAspect="1"/>
          </p:cNvSpPr>
          <p:nvPr/>
        </p:nvSpPr>
        <p:spPr bwMode="auto">
          <a:xfrm>
            <a:off x="7074029" y="450548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400" dirty="0">
              <a:latin typeface="+mj-lt"/>
            </a:endParaRPr>
          </a:p>
        </p:txBody>
      </p:sp>
      <p:sp>
        <p:nvSpPr>
          <p:cNvPr id="17" name="Freeform 952">
            <a:extLst>
              <a:ext uri="{FF2B5EF4-FFF2-40B4-BE49-F238E27FC236}">
                <a16:creationId xmlns:a16="http://schemas.microsoft.com/office/drawing/2014/main" id="{63AD07B7-4E5A-E217-5472-65A3A17DB004}"/>
              </a:ext>
            </a:extLst>
          </p:cNvPr>
          <p:cNvSpPr>
            <a:spLocks noChangeAspect="1"/>
          </p:cNvSpPr>
          <p:nvPr/>
        </p:nvSpPr>
        <p:spPr bwMode="auto">
          <a:xfrm>
            <a:off x="4338475" y="4522927"/>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400" dirty="0">
              <a:latin typeface="+mj-lt"/>
            </a:endParaRPr>
          </a:p>
        </p:txBody>
      </p:sp>
      <p:sp>
        <p:nvSpPr>
          <p:cNvPr id="18" name="Freeform 953">
            <a:extLst>
              <a:ext uri="{FF2B5EF4-FFF2-40B4-BE49-F238E27FC236}">
                <a16:creationId xmlns:a16="http://schemas.microsoft.com/office/drawing/2014/main" id="{967A5EF0-9BEB-D64F-A2B8-83ED44183AE4}"/>
              </a:ext>
            </a:extLst>
          </p:cNvPr>
          <p:cNvSpPr>
            <a:spLocks noChangeAspect="1"/>
          </p:cNvSpPr>
          <p:nvPr/>
        </p:nvSpPr>
        <p:spPr bwMode="auto">
          <a:xfrm>
            <a:off x="6455403" y="5757463"/>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400" dirty="0">
              <a:latin typeface="+mj-lt"/>
            </a:endParaRPr>
          </a:p>
        </p:txBody>
      </p:sp>
      <p:sp>
        <p:nvSpPr>
          <p:cNvPr id="19" name="Freeform 955">
            <a:extLst>
              <a:ext uri="{FF2B5EF4-FFF2-40B4-BE49-F238E27FC236}">
                <a16:creationId xmlns:a16="http://schemas.microsoft.com/office/drawing/2014/main" id="{57CA3E3A-3310-4F72-1290-EC60EFA7EA4A}"/>
              </a:ext>
            </a:extLst>
          </p:cNvPr>
          <p:cNvSpPr>
            <a:spLocks noChangeAspect="1"/>
          </p:cNvSpPr>
          <p:nvPr/>
        </p:nvSpPr>
        <p:spPr bwMode="auto">
          <a:xfrm>
            <a:off x="4962967" y="3274249"/>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endParaRPr lang="en-GB" sz="1400" dirty="0">
              <a:latin typeface="+mj-lt"/>
            </a:endParaRPr>
          </a:p>
        </p:txBody>
      </p:sp>
      <p:sp>
        <p:nvSpPr>
          <p:cNvPr id="20" name="Freeform 282">
            <a:extLst>
              <a:ext uri="{FF2B5EF4-FFF2-40B4-BE49-F238E27FC236}">
                <a16:creationId xmlns:a16="http://schemas.microsoft.com/office/drawing/2014/main" id="{8C6C6DB1-7B4C-AD4F-FFE6-D5E5DDF0C811}"/>
              </a:ext>
            </a:extLst>
          </p:cNvPr>
          <p:cNvSpPr>
            <a:spLocks noChangeAspect="1"/>
          </p:cNvSpPr>
          <p:nvPr/>
        </p:nvSpPr>
        <p:spPr bwMode="auto">
          <a:xfrm>
            <a:off x="6440318" y="3252244"/>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400" dirty="0">
              <a:latin typeface="+mj-lt"/>
            </a:endParaRPr>
          </a:p>
        </p:txBody>
      </p:sp>
      <p:sp>
        <p:nvSpPr>
          <p:cNvPr id="23" name="Freeform 954">
            <a:extLst>
              <a:ext uri="{FF2B5EF4-FFF2-40B4-BE49-F238E27FC236}">
                <a16:creationId xmlns:a16="http://schemas.microsoft.com/office/drawing/2014/main" id="{CEFD4388-91F6-9F27-B002-081F23EFD0FB}"/>
              </a:ext>
            </a:extLst>
          </p:cNvPr>
          <p:cNvSpPr>
            <a:spLocks noChangeAspect="1"/>
          </p:cNvSpPr>
          <p:nvPr/>
        </p:nvSpPr>
        <p:spPr bwMode="auto">
          <a:xfrm rot="16200000">
            <a:off x="4950236" y="5782997"/>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400" dirty="0">
              <a:latin typeface="+mj-lt"/>
            </a:endParaRPr>
          </a:p>
        </p:txBody>
      </p:sp>
      <p:sp>
        <p:nvSpPr>
          <p:cNvPr id="24" name="TextBox 27">
            <a:extLst>
              <a:ext uri="{FF2B5EF4-FFF2-40B4-BE49-F238E27FC236}">
                <a16:creationId xmlns:a16="http://schemas.microsoft.com/office/drawing/2014/main" id="{8CFAE046-93FA-1A12-9B41-E0706EDF23B6}"/>
              </a:ext>
            </a:extLst>
          </p:cNvPr>
          <p:cNvSpPr txBox="1"/>
          <p:nvPr/>
        </p:nvSpPr>
        <p:spPr>
          <a:xfrm>
            <a:off x="7407625" y="2673719"/>
            <a:ext cx="3735060" cy="430887"/>
          </a:xfrm>
          <a:prstGeom prst="rect">
            <a:avLst/>
          </a:prstGeom>
          <a:noFill/>
        </p:spPr>
        <p:txBody>
          <a:bodyPr wrap="square" rtlCol="0" anchor="t" anchorCtr="0">
            <a:spAutoFit/>
          </a:bodyPr>
          <a:lstStyle/>
          <a:p>
            <a:r>
              <a:rPr lang="en-GB" sz="2200" b="1" dirty="0">
                <a:solidFill>
                  <a:srgbClr val="EDA13E"/>
                </a:solidFill>
                <a:ea typeface="League Spartan" charset="0"/>
                <a:cs typeface="Poppins" pitchFamily="2" charset="77"/>
              </a:rPr>
              <a:t>Αποτελεσματική ενημέρωση του κοινού</a:t>
            </a:r>
          </a:p>
        </p:txBody>
      </p:sp>
      <p:sp>
        <p:nvSpPr>
          <p:cNvPr id="25" name="Subtitle 2">
            <a:extLst>
              <a:ext uri="{FF2B5EF4-FFF2-40B4-BE49-F238E27FC236}">
                <a16:creationId xmlns:a16="http://schemas.microsoft.com/office/drawing/2014/main" id="{FD4C47AB-E33F-0382-1C58-41E14C99185F}"/>
              </a:ext>
            </a:extLst>
          </p:cNvPr>
          <p:cNvSpPr txBox="1">
            <a:spLocks/>
          </p:cNvSpPr>
          <p:nvPr/>
        </p:nvSpPr>
        <p:spPr>
          <a:xfrm>
            <a:off x="7482574" y="3062244"/>
            <a:ext cx="4432971"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Εάν η κρίση σας αφορά το κοινό, ενημερώστε το κοινό όσο το δυνατόν πιο αποτελεσματικά: δηλώσεις στον ιστότοπό σας, συνεντεύξεις Τύπου κ.λπ.</a:t>
            </a:r>
          </a:p>
        </p:txBody>
      </p:sp>
      <p:sp>
        <p:nvSpPr>
          <p:cNvPr id="26" name="TextBox 31">
            <a:extLst>
              <a:ext uri="{FF2B5EF4-FFF2-40B4-BE49-F238E27FC236}">
                <a16:creationId xmlns:a16="http://schemas.microsoft.com/office/drawing/2014/main" id="{74B0090C-52FD-D133-3C23-AB65E2B829A8}"/>
              </a:ext>
            </a:extLst>
          </p:cNvPr>
          <p:cNvSpPr txBox="1"/>
          <p:nvPr/>
        </p:nvSpPr>
        <p:spPr>
          <a:xfrm>
            <a:off x="7322650" y="5583513"/>
            <a:ext cx="1680737" cy="378373"/>
          </a:xfrm>
          <a:prstGeom prst="rect">
            <a:avLst/>
          </a:prstGeom>
          <a:noFill/>
        </p:spPr>
        <p:txBody>
          <a:bodyPr wrap="square" rtlCol="0" anchor="b" anchorCtr="0">
            <a:spAutoFit/>
          </a:bodyPr>
          <a:lstStyle/>
          <a:p>
            <a:pPr>
              <a:lnSpc>
                <a:spcPts val="2220"/>
              </a:lnSpc>
            </a:pPr>
            <a:r>
              <a:rPr lang="en-GB" sz="2200" b="1" dirty="0">
                <a:ea typeface="League Spartan" charset="0"/>
                <a:cs typeface="Poppins" pitchFamily="2" charset="77"/>
              </a:rPr>
              <a:t>Να είστε δίκαιοι</a:t>
            </a:r>
          </a:p>
        </p:txBody>
      </p:sp>
      <p:sp>
        <p:nvSpPr>
          <p:cNvPr id="27" name="Subtitle 2">
            <a:extLst>
              <a:ext uri="{FF2B5EF4-FFF2-40B4-BE49-F238E27FC236}">
                <a16:creationId xmlns:a16="http://schemas.microsoft.com/office/drawing/2014/main" id="{BC481C0C-63EF-9D6C-7A3B-AD7827F15748}"/>
              </a:ext>
            </a:extLst>
          </p:cNvPr>
          <p:cNvSpPr txBox="1">
            <a:spLocks/>
          </p:cNvSpPr>
          <p:nvPr/>
        </p:nvSpPr>
        <p:spPr>
          <a:xfrm>
            <a:off x="7352629" y="5910960"/>
            <a:ext cx="4432971"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Αντιμετωπίστε δίκαια όλα τα ενδιαφερόμενα μέρη και μην αποκρύπτετε πληροφορίες σε ορισμένες ομάδες ενδιαφερομένων.</a:t>
            </a:r>
          </a:p>
        </p:txBody>
      </p:sp>
      <p:sp>
        <p:nvSpPr>
          <p:cNvPr id="28" name="TextBox 37">
            <a:extLst>
              <a:ext uri="{FF2B5EF4-FFF2-40B4-BE49-F238E27FC236}">
                <a16:creationId xmlns:a16="http://schemas.microsoft.com/office/drawing/2014/main" id="{AC3713A3-E53B-6804-8632-E57C06DD8DF1}"/>
              </a:ext>
            </a:extLst>
          </p:cNvPr>
          <p:cNvSpPr txBox="1"/>
          <p:nvPr/>
        </p:nvSpPr>
        <p:spPr>
          <a:xfrm>
            <a:off x="0" y="2606217"/>
            <a:ext cx="4267283" cy="378437"/>
          </a:xfrm>
          <a:prstGeom prst="rect">
            <a:avLst/>
          </a:prstGeom>
          <a:noFill/>
        </p:spPr>
        <p:txBody>
          <a:bodyPr wrap="square" rtlCol="0" anchor="t" anchorCtr="0">
            <a:spAutoFit/>
          </a:bodyPr>
          <a:lstStyle/>
          <a:p>
            <a:pPr algn="r">
              <a:lnSpc>
                <a:spcPts val="2220"/>
              </a:lnSpc>
            </a:pPr>
            <a:r>
              <a:rPr lang="en-GB" sz="2200" b="1" dirty="0">
                <a:solidFill>
                  <a:srgbClr val="7F1C58"/>
                </a:solidFill>
                <a:ea typeface="League Spartan" charset="0"/>
                <a:cs typeface="Poppins" pitchFamily="2" charset="77"/>
              </a:rPr>
              <a:t>Κεντρικοποίηση της επικοινωνίας</a:t>
            </a:r>
          </a:p>
        </p:txBody>
      </p:sp>
      <p:sp>
        <p:nvSpPr>
          <p:cNvPr id="29" name="Subtitle 2">
            <a:extLst>
              <a:ext uri="{FF2B5EF4-FFF2-40B4-BE49-F238E27FC236}">
                <a16:creationId xmlns:a16="http://schemas.microsoft.com/office/drawing/2014/main" id="{54F0CB4F-7590-83F9-A577-898184155D23}"/>
              </a:ext>
            </a:extLst>
          </p:cNvPr>
          <p:cNvSpPr txBox="1">
            <a:spLocks/>
          </p:cNvSpPr>
          <p:nvPr/>
        </p:nvSpPr>
        <p:spPr>
          <a:xfrm>
            <a:off x="659073" y="3062244"/>
            <a:ext cx="3608210" cy="73033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Συγκεντρώστε την αμφίδρομη ροή πληροφοριών, ώστε να έχετε τις πληροφορίες σε ένα μέρος.</a:t>
            </a:r>
          </a:p>
        </p:txBody>
      </p:sp>
      <p:sp>
        <p:nvSpPr>
          <p:cNvPr id="30" name="TextBox 40">
            <a:extLst>
              <a:ext uri="{FF2B5EF4-FFF2-40B4-BE49-F238E27FC236}">
                <a16:creationId xmlns:a16="http://schemas.microsoft.com/office/drawing/2014/main" id="{647863BE-9654-3839-1112-7F26C8FDB953}"/>
              </a:ext>
            </a:extLst>
          </p:cNvPr>
          <p:cNvSpPr txBox="1"/>
          <p:nvPr/>
        </p:nvSpPr>
        <p:spPr>
          <a:xfrm>
            <a:off x="2855753" y="5659103"/>
            <a:ext cx="1681672" cy="378373"/>
          </a:xfrm>
          <a:prstGeom prst="rect">
            <a:avLst/>
          </a:prstGeom>
          <a:noFill/>
        </p:spPr>
        <p:txBody>
          <a:bodyPr wrap="square" rtlCol="0" anchor="b" anchorCtr="0">
            <a:spAutoFit/>
          </a:bodyPr>
          <a:lstStyle/>
          <a:p>
            <a:pPr algn="r">
              <a:lnSpc>
                <a:spcPts val="2220"/>
              </a:lnSpc>
            </a:pPr>
            <a:r>
              <a:rPr lang="en-GB" sz="2200" b="1" dirty="0">
                <a:solidFill>
                  <a:srgbClr val="F16924"/>
                </a:solidFill>
                <a:ea typeface="League Spartan" charset="0"/>
                <a:cs typeface="Poppins" pitchFamily="2" charset="77"/>
              </a:rPr>
              <a:t>Ενημέρωση</a:t>
            </a:r>
          </a:p>
        </p:txBody>
      </p:sp>
      <p:sp>
        <p:nvSpPr>
          <p:cNvPr id="37" name="Subtitle 2">
            <a:extLst>
              <a:ext uri="{FF2B5EF4-FFF2-40B4-BE49-F238E27FC236}">
                <a16:creationId xmlns:a16="http://schemas.microsoft.com/office/drawing/2014/main" id="{286D7793-002E-4818-EF94-F88FFE1148C8}"/>
              </a:ext>
            </a:extLst>
          </p:cNvPr>
          <p:cNvSpPr txBox="1">
            <a:spLocks/>
          </p:cNvSpPr>
          <p:nvPr/>
        </p:nvSpPr>
        <p:spPr>
          <a:xfrm>
            <a:off x="1244507" y="5986550"/>
            <a:ext cx="3292918"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Να ενημερώνετε όλα τα σχετικά ακροατήρια καθώς εξελίσσεται η κρίση.</a:t>
            </a:r>
          </a:p>
        </p:txBody>
      </p:sp>
      <p:sp>
        <p:nvSpPr>
          <p:cNvPr id="52" name="TextBox 34">
            <a:extLst>
              <a:ext uri="{FF2B5EF4-FFF2-40B4-BE49-F238E27FC236}">
                <a16:creationId xmlns:a16="http://schemas.microsoft.com/office/drawing/2014/main" id="{AFDABAD8-86B8-AF83-A476-6454B98E5791}"/>
              </a:ext>
            </a:extLst>
          </p:cNvPr>
          <p:cNvSpPr txBox="1"/>
          <p:nvPr/>
        </p:nvSpPr>
        <p:spPr>
          <a:xfrm>
            <a:off x="7836396" y="4169881"/>
            <a:ext cx="1681672" cy="378373"/>
          </a:xfrm>
          <a:prstGeom prst="rect">
            <a:avLst/>
          </a:prstGeom>
          <a:noFill/>
        </p:spPr>
        <p:txBody>
          <a:bodyPr wrap="square" rtlCol="0" anchor="b" anchorCtr="0">
            <a:spAutoFit/>
          </a:bodyPr>
          <a:lstStyle/>
          <a:p>
            <a:pPr>
              <a:lnSpc>
                <a:spcPts val="2220"/>
              </a:lnSpc>
            </a:pPr>
            <a:r>
              <a:rPr lang="en-GB" sz="2200" b="1" dirty="0">
                <a:solidFill>
                  <a:srgbClr val="B41F7A"/>
                </a:solidFill>
                <a:ea typeface="League Spartan" charset="0"/>
                <a:cs typeface="Poppins" pitchFamily="2" charset="77"/>
              </a:rPr>
              <a:t>Να είστε ειλικρινής</a:t>
            </a:r>
          </a:p>
        </p:txBody>
      </p:sp>
      <p:sp>
        <p:nvSpPr>
          <p:cNvPr id="53" name="Subtitle 2">
            <a:extLst>
              <a:ext uri="{FF2B5EF4-FFF2-40B4-BE49-F238E27FC236}">
                <a16:creationId xmlns:a16="http://schemas.microsoft.com/office/drawing/2014/main" id="{95BFAC34-4EB7-4213-491C-269591F64B9E}"/>
              </a:ext>
            </a:extLst>
          </p:cNvPr>
          <p:cNvSpPr txBox="1">
            <a:spLocks/>
          </p:cNvSpPr>
          <p:nvPr/>
        </p:nvSpPr>
        <p:spPr>
          <a:xfrm>
            <a:off x="7911346" y="4529920"/>
            <a:ext cx="3849989" cy="49950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Να απαντάτε στους ενδιαφερόμενους με ειλικρίνεια, ανοιχτά, γρήγορα και ενημερωτικά.</a:t>
            </a:r>
          </a:p>
        </p:txBody>
      </p:sp>
      <p:sp>
        <p:nvSpPr>
          <p:cNvPr id="54" name="TextBox 44">
            <a:extLst>
              <a:ext uri="{FF2B5EF4-FFF2-40B4-BE49-F238E27FC236}">
                <a16:creationId xmlns:a16="http://schemas.microsoft.com/office/drawing/2014/main" id="{D46382C4-E62C-E20D-D00D-E8B590DDF171}"/>
              </a:ext>
            </a:extLst>
          </p:cNvPr>
          <p:cNvSpPr txBox="1"/>
          <p:nvPr/>
        </p:nvSpPr>
        <p:spPr>
          <a:xfrm>
            <a:off x="2181214" y="4005541"/>
            <a:ext cx="1681672" cy="378373"/>
          </a:xfrm>
          <a:prstGeom prst="rect">
            <a:avLst/>
          </a:prstGeom>
          <a:noFill/>
        </p:spPr>
        <p:txBody>
          <a:bodyPr wrap="square" rtlCol="0" anchor="b" anchorCtr="0">
            <a:spAutoFit/>
          </a:bodyPr>
          <a:lstStyle/>
          <a:p>
            <a:pPr algn="r">
              <a:lnSpc>
                <a:spcPts val="2220"/>
              </a:lnSpc>
            </a:pPr>
            <a:r>
              <a:rPr lang="en-GB" sz="2200" b="1" dirty="0">
                <a:solidFill>
                  <a:srgbClr val="B41F7A"/>
                </a:solidFill>
                <a:ea typeface="League Spartan" charset="0"/>
                <a:cs typeface="Poppins" pitchFamily="2" charset="77"/>
              </a:rPr>
              <a:t>Οθόνη</a:t>
            </a:r>
          </a:p>
        </p:txBody>
      </p:sp>
      <p:sp>
        <p:nvSpPr>
          <p:cNvPr id="55" name="Subtitle 2">
            <a:extLst>
              <a:ext uri="{FF2B5EF4-FFF2-40B4-BE49-F238E27FC236}">
                <a16:creationId xmlns:a16="http://schemas.microsoft.com/office/drawing/2014/main" id="{EAAAFDC0-D4B0-1014-F832-E44B0E364FBD}"/>
              </a:ext>
            </a:extLst>
          </p:cNvPr>
          <p:cNvSpPr txBox="1">
            <a:spLocks/>
          </p:cNvSpPr>
          <p:nvPr/>
        </p:nvSpPr>
        <p:spPr>
          <a:xfrm>
            <a:off x="249864" y="4380570"/>
            <a:ext cx="3613022" cy="9611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2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αρακολουθήστε τις αντιδράσεις των ενδιαφερομένων μερών και επίσης παρακολουθήστε τα έντυπα, τα ραδιοτηλεοπτικά μέσα και τα μέσα κοινωνικής δικτύωσης.</a:t>
            </a:r>
          </a:p>
        </p:txBody>
      </p:sp>
    </p:spTree>
    <p:extLst>
      <p:ext uri="{BB962C8B-B14F-4D97-AF65-F5344CB8AC3E}">
        <p14:creationId xmlns:p14="http://schemas.microsoft.com/office/powerpoint/2010/main" val="884727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395315" cy="1723686"/>
          </a:xfrm>
        </p:spPr>
        <p:txBody>
          <a:bodyPr>
            <a:normAutofit/>
          </a:bodyPr>
          <a:lstStyle/>
          <a:p>
            <a:r>
              <a:rPr lang="en-GB" dirty="0">
                <a:solidFill>
                  <a:schemeClr val="bg1"/>
                </a:solidFill>
              </a:rPr>
              <a:t>Μύθοι για την επιχειρηματική ηγεσία</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34413" y="2315240"/>
            <a:ext cx="3887709" cy="4058147"/>
          </a:xfrm>
        </p:spPr>
        <p:txBody>
          <a:bodyPr>
            <a:normAutofit fontScale="85000" lnSpcReduction="10000"/>
          </a:bodyPr>
          <a:lstStyle/>
          <a:p>
            <a:pPr marL="12700" indent="-12700"/>
            <a:r>
              <a:rPr lang="en-US" dirty="0">
                <a:solidFill>
                  <a:schemeClr val="bg1"/>
                </a:solidFill>
              </a:rPr>
              <a:t>Όσον αφορά την ηγεσία των επιχειρήσεων, δεν υπάρχει ένα μέγεθος που να ταιριάζει σε όλους. Κάθε ηγέτης έχει τη δική του/της προσωπικότητα, το δικό του/της στυλ και τη δική του/της προσέγγιση στην ηγεσία ομάδων - και υπάρχουν διαφορετικές καταστάσεις όπου συγκεκριμένα στυλ ηγεσίας λειτουργούν ή δεν λειτουργούν. Τούτου λεχθέντος, υπάρχουν μύθοι ηγεσίας που φαίνεται να έρχονται στην επιφάνεια χρόνο. Ακολουθούν αρκετοί από αυτούς που αναδεικνύονται με συνέπεια:</a:t>
            </a:r>
          </a:p>
          <a:p>
            <a:pPr marL="12700" indent="-12700"/>
            <a:endParaRPr lang="en-US" dirty="0">
              <a:solidFill>
                <a:schemeClr val="bg1"/>
              </a:solidFill>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34089" y="210235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7774524" y="613340"/>
            <a:ext cx="4208369" cy="5020733"/>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Οι ηγέτες γεννιούνται, δεν γίνονται</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Οι αληθινοί ηγέτες είναι χαρισματικοί εξωστρεφεί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Η ηγεσία εξαρτάται από τη θέση/τον τίτλο σα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Οι ηγέτες είναι πάντα "ενεργοποιημένοι" </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Η ηγεσία σημαίνει να είσαι αρεστό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Η ηγεσία είναι ένα προγραμματισμένο γεγονός</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Και πολλά άλλα.</a:t>
            </a: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a:lnSpc>
                <a:spcPts val="2200"/>
              </a:lnSpc>
              <a:spcBef>
                <a:spcPts val="600"/>
              </a:spcBef>
              <a:buClr>
                <a:srgbClr val="EDA13E"/>
              </a:buClr>
            </a:pPr>
            <a:r>
              <a:rPr lang="en-GB" sz="2200" b="1" dirty="0">
                <a:solidFill>
                  <a:schemeClr val="bg1"/>
                </a:solidFill>
                <a:highlight>
                  <a:srgbClr val="F16924"/>
                </a:highlight>
                <a:ea typeface="League Spartan" charset="0"/>
                <a:cs typeface="Poppins" pitchFamily="2" charset="77"/>
              </a:rPr>
              <a:t>ΔΙΑΒΑΣΤΕ </a:t>
            </a:r>
            <a:r>
              <a:rPr lang="en-GB" sz="2400" dirty="0">
                <a:hlinkClick r:id="rId3"/>
              </a:rPr>
              <a:t>10 δημοφιλείς μύθους για την ηγεσία και πώς να τους ξεπεράσετε (entrepreneur.com)</a:t>
            </a:r>
            <a:endParaRPr lang="en-GB" sz="2200" dirty="0">
              <a:solidFill>
                <a:schemeClr val="bg1"/>
              </a:solidFill>
              <a:highlight>
                <a:srgbClr val="F16924"/>
              </a:highlight>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4417475"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208121" y="586932"/>
            <a:ext cx="5578549" cy="5964518"/>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Ενημέρωση</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Μην ξεχάσετε να πείτε στους ενδιαφερόμενους ότι η κρίση έχει τελειώσει. Ενημερώστε όλους τους εμπλεκόμενους ή επηρεαζόμενους.</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Ανάλυση και αναφορά</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Γράψτε μια σύντομη έκθεση με τις αιτίες, τις ευθύνες, τις επιτυχίες, τις αποτυχίες και τις συστάσεις για βελτίωση.</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Επιβράβευση</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Αναγνώριση και επιβράβευση όσων συνέβαλαν στη διαχείριση της κρίσης.</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Επαναφορά της εμπιστοσύνης</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Ακολουθήστε τα σχέδια ανάκαμψης για να αποκαταστήσετε την εμπιστοσύνη, τη φήμη, το ηθικό των εργαζομένων και να μειώσετε το άγχος.</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10543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205433"/>
            <a:ext cx="3654315" cy="3041709"/>
          </a:xfrm>
        </p:spPr>
        <p:txBody>
          <a:bodyPr>
            <a:normAutofit/>
          </a:bodyPr>
          <a:lstStyle/>
          <a:p>
            <a:r>
              <a:rPr lang="en-GB" dirty="0">
                <a:solidFill>
                  <a:schemeClr val="bg1"/>
                </a:solidFill>
              </a:rPr>
              <a:t>Βασικοί κανόνες επικοινωνίας </a:t>
            </a:r>
            <a:r>
              <a:rPr lang="en-GB" b="1" dirty="0">
                <a:solidFill>
                  <a:schemeClr val="bg1"/>
                </a:solidFill>
              </a:rPr>
              <a:t>ΜΕΤΑ από </a:t>
            </a:r>
            <a:r>
              <a:rPr lang="en-GB" dirty="0">
                <a:solidFill>
                  <a:schemeClr val="bg1"/>
                </a:solidFill>
              </a:rPr>
              <a:t>μια κρίση</a:t>
            </a:r>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108697" y="76134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5456770" y="4776717"/>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108697" y="224871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108697" y="3756245"/>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5108697" y="4903238"/>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4" y="3062178"/>
            <a:ext cx="3650635" cy="4261580"/>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Μόλις ξεπεραστεί η κρίση, πολλές εταιρείες "επιστρέφουν στην κανονική τους λειτουργία" σχετικά γρήγορα.  Συχνά ξεχνούν να ενημερώσουν τα ενδιαφερόμενα μέρη ότι η κρίση έχει αντιμετωπιστεί με επιτυχία.  Ωστόσο, αυτό είναι ακριβώς το σημείο όπου αρχίζει η ανοικοδόμηση της εμπιστοσύνης. </a:t>
            </a:r>
          </a:p>
        </p:txBody>
      </p:sp>
      <p:sp>
        <p:nvSpPr>
          <p:cNvPr id="4" name="Rectangle 3">
            <a:extLst>
              <a:ext uri="{FF2B5EF4-FFF2-40B4-BE49-F238E27FC236}">
                <a16:creationId xmlns:a16="http://schemas.microsoft.com/office/drawing/2014/main" id="{CC45B7D4-2E3F-83EC-3AED-84EAFD560075}"/>
              </a:ext>
            </a:extLst>
          </p:cNvPr>
          <p:cNvSpPr/>
          <p:nvPr/>
        </p:nvSpPr>
        <p:spPr>
          <a:xfrm>
            <a:off x="793240" y="233747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7" name="Straight Connector 6">
            <a:extLst>
              <a:ext uri="{FF2B5EF4-FFF2-40B4-BE49-F238E27FC236}">
                <a16:creationId xmlns:a16="http://schemas.microsoft.com/office/drawing/2014/main" id="{AD972B35-57DF-D042-0CE8-AAA42335288B}"/>
              </a:ext>
            </a:extLst>
          </p:cNvPr>
          <p:cNvCxnSpPr>
            <a:cxnSpLocks/>
          </p:cNvCxnSpPr>
          <p:nvPr/>
        </p:nvCxnSpPr>
        <p:spPr>
          <a:xfrm>
            <a:off x="5456770" y="3569191"/>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5456770" y="2106459"/>
            <a:ext cx="673523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647173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0B16E9D-A2CC-9691-FAEE-6B2447670D92}"/>
              </a:ext>
            </a:extLst>
          </p:cNvPr>
          <p:cNvSpPr>
            <a:spLocks noGrp="1"/>
          </p:cNvSpPr>
          <p:nvPr>
            <p:ph type="body" sz="quarter" idx="17"/>
          </p:nvPr>
        </p:nvSpPr>
        <p:spPr/>
        <p:txBody>
          <a:bodyPr/>
          <a:lstStyle/>
          <a:p>
            <a:r>
              <a:rPr lang="en-US" dirty="0"/>
              <a:t>04</a:t>
            </a:r>
          </a:p>
        </p:txBody>
      </p:sp>
      <p:sp>
        <p:nvSpPr>
          <p:cNvPr id="8" name="Text Placeholder 7">
            <a:extLst>
              <a:ext uri="{FF2B5EF4-FFF2-40B4-BE49-F238E27FC236}">
                <a16:creationId xmlns:a16="http://schemas.microsoft.com/office/drawing/2014/main" id="{643DDF24-9074-5912-521E-4097ECBB50FC}"/>
              </a:ext>
            </a:extLst>
          </p:cNvPr>
          <p:cNvSpPr>
            <a:spLocks noGrp="1"/>
          </p:cNvSpPr>
          <p:nvPr>
            <p:ph type="body" sz="quarter" idx="16"/>
          </p:nvPr>
        </p:nvSpPr>
        <p:spPr>
          <a:xfrm>
            <a:off x="2149154" y="1379072"/>
            <a:ext cx="4723594" cy="2438016"/>
          </a:xfrm>
        </p:spPr>
        <p:txBody>
          <a:bodyPr>
            <a:normAutofit/>
          </a:bodyPr>
          <a:lstStyle/>
          <a:p>
            <a:r>
              <a:rPr lang="en-US" sz="3200" dirty="0">
                <a:solidFill>
                  <a:schemeClr val="bg1"/>
                </a:solidFill>
              </a:rPr>
              <a:t>Κίνητρα σε κρίση: Ο ρόλος του ελέγχου</a:t>
            </a:r>
          </a:p>
        </p:txBody>
      </p:sp>
    </p:spTree>
    <p:extLst>
      <p:ext uri="{BB962C8B-B14F-4D97-AF65-F5344CB8AC3E}">
        <p14:creationId xmlns:p14="http://schemas.microsoft.com/office/powerpoint/2010/main" val="2627676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2020559"/>
            <a:ext cx="6655437" cy="3867461"/>
          </a:xfrm>
        </p:spPr>
        <p:txBody>
          <a:bodyPr>
            <a:no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Ο έλεγχος επεκτείνει το πεδίο της επικοινωνίας επιτρέποντας στους υπεύθυνους να συνεργάζονται με άλλες λειτουργίες. Όταν τα στελέχη και οι εργαζόμενοι μιας επιχείρησης έχουν - λίγο πολύ - την ίδια εικόνα για το πού πρέπει να "πάνε", ποιες διαδρομές πρέπει να ακολουθήσουν, ποια συστήματα και μέσα πρέπει να χρησιμοποιήσουν, ποιες συνθήκες πλαισίου πρέπει να λάβουν υπόψη τους κ.λπ., η επικοινωνία και η εργασία μπορούν να είναι πολύ πιο στοχευμένες και αποτελεσματικές. Η ίδια εικόνα της διοίκησης βοηθάει να αναγνωρίζει κανείς ευκολότερα στην καθημερινότητα πού υπάρχουν αποκλίσεις ή να παίρνει τα σωστά μέτρα χωρίς στενές/συγκεκριμένες οδηγίες.</a:t>
            </a:r>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a:xfrm>
            <a:off x="734714" y="642972"/>
            <a:ext cx="4619165" cy="1260779"/>
          </a:xfrm>
        </p:spPr>
        <p:txBody>
          <a:bodyPr>
            <a:normAutofit/>
          </a:bodyPr>
          <a:lstStyle/>
          <a:p>
            <a:r>
              <a:rPr lang="en-GB" dirty="0"/>
              <a:t>Κίνητρα σε κρίση: Ο ρόλος του ελέγχου</a:t>
            </a:r>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4833" t="437" r="55071" b="-437"/>
          <a:stretch/>
        </p:blipFill>
        <p:spPr>
          <a:xfrm>
            <a:off x="7689954" y="1"/>
            <a:ext cx="3852862" cy="6857999"/>
          </a:xfrm>
          <a:prstGeom prst="rect">
            <a:avLst/>
          </a:prstGeom>
        </p:spPr>
      </p:pic>
      <p:sp>
        <p:nvSpPr>
          <p:cNvPr id="2" name="Rectangle 1">
            <a:extLst>
              <a:ext uri="{FF2B5EF4-FFF2-40B4-BE49-F238E27FC236}">
                <a16:creationId xmlns:a16="http://schemas.microsoft.com/office/drawing/2014/main" id="{F63D810A-8F98-ACED-CABD-9B95BF1A00DF}"/>
              </a:ext>
            </a:extLst>
          </p:cNvPr>
          <p:cNvSpPr/>
          <p:nvPr/>
        </p:nvSpPr>
        <p:spPr>
          <a:xfrm>
            <a:off x="698761" y="177656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57107635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Freeform 65">
            <a:extLst>
              <a:ext uri="{FF2B5EF4-FFF2-40B4-BE49-F238E27FC236}">
                <a16:creationId xmlns:a16="http://schemas.microsoft.com/office/drawing/2014/main" id="{B8BAD2A3-BC7F-1834-FDE8-04F7E6EA8736}"/>
              </a:ext>
            </a:extLst>
          </p:cNvPr>
          <p:cNvSpPr/>
          <p:nvPr/>
        </p:nvSpPr>
        <p:spPr>
          <a:xfrm rot="1363340">
            <a:off x="4052037" y="27594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41" name="Freeform 73">
            <a:extLst>
              <a:ext uri="{FF2B5EF4-FFF2-40B4-BE49-F238E27FC236}">
                <a16:creationId xmlns:a16="http://schemas.microsoft.com/office/drawing/2014/main" id="{81422360-9D8E-9204-721C-D4707AA83478}"/>
              </a:ext>
            </a:extLst>
          </p:cNvPr>
          <p:cNvSpPr/>
          <p:nvPr/>
        </p:nvSpPr>
        <p:spPr>
          <a:xfrm rot="1363340">
            <a:off x="6507925" y="37907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Κίνητρα σε κρίση: Ο ρόλος του ελέγχου</a:t>
            </a:r>
          </a:p>
          <a:p>
            <a:endParaRPr lang="en-US" dirty="0"/>
          </a:p>
        </p:txBody>
      </p:sp>
      <p:sp>
        <p:nvSpPr>
          <p:cNvPr id="7" name="Freeform 61">
            <a:extLst>
              <a:ext uri="{FF2B5EF4-FFF2-40B4-BE49-F238E27FC236}">
                <a16:creationId xmlns:a16="http://schemas.microsoft.com/office/drawing/2014/main" id="{4C987845-F72B-8AC9-F51A-ED4EEA3A1B0A}"/>
              </a:ext>
            </a:extLst>
          </p:cNvPr>
          <p:cNvSpPr/>
          <p:nvPr/>
        </p:nvSpPr>
        <p:spPr>
          <a:xfrm rot="1363340">
            <a:off x="5792803" y="2041406"/>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8" name="Freeform 75">
            <a:extLst>
              <a:ext uri="{FF2B5EF4-FFF2-40B4-BE49-F238E27FC236}">
                <a16:creationId xmlns:a16="http://schemas.microsoft.com/office/drawing/2014/main" id="{0F02604D-1594-1AB7-CB8B-810FC8DFEF1A}"/>
              </a:ext>
            </a:extLst>
          </p:cNvPr>
          <p:cNvSpPr/>
          <p:nvPr/>
        </p:nvSpPr>
        <p:spPr>
          <a:xfrm rot="1363340">
            <a:off x="6482688" y="2808000"/>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9" name="Freeform 63">
            <a:extLst>
              <a:ext uri="{FF2B5EF4-FFF2-40B4-BE49-F238E27FC236}">
                <a16:creationId xmlns:a16="http://schemas.microsoft.com/office/drawing/2014/main" id="{3B63C200-711A-2C22-CBBA-7FFF02B14666}"/>
              </a:ext>
            </a:extLst>
          </p:cNvPr>
          <p:cNvSpPr/>
          <p:nvPr/>
        </p:nvSpPr>
        <p:spPr>
          <a:xfrm rot="1363340">
            <a:off x="4807179" y="2106558"/>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2" name="Freeform 67">
            <a:extLst>
              <a:ext uri="{FF2B5EF4-FFF2-40B4-BE49-F238E27FC236}">
                <a16:creationId xmlns:a16="http://schemas.microsoft.com/office/drawing/2014/main" id="{E5CA4C10-F20D-B1F4-D297-8A7E18256770}"/>
              </a:ext>
            </a:extLst>
          </p:cNvPr>
          <p:cNvSpPr/>
          <p:nvPr/>
        </p:nvSpPr>
        <p:spPr>
          <a:xfrm rot="1363340">
            <a:off x="4105988" y="3778847"/>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3" name="Freeform 71">
            <a:extLst>
              <a:ext uri="{FF2B5EF4-FFF2-40B4-BE49-F238E27FC236}">
                <a16:creationId xmlns:a16="http://schemas.microsoft.com/office/drawing/2014/main" id="{C2CF79AA-5531-3EC0-6A19-90CE76B96FCD}"/>
              </a:ext>
            </a:extLst>
          </p:cNvPr>
          <p:cNvSpPr/>
          <p:nvPr/>
        </p:nvSpPr>
        <p:spPr>
          <a:xfrm rot="1363340">
            <a:off x="5783390" y="4481774"/>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4" name="Freeform 69">
            <a:extLst>
              <a:ext uri="{FF2B5EF4-FFF2-40B4-BE49-F238E27FC236}">
                <a16:creationId xmlns:a16="http://schemas.microsoft.com/office/drawing/2014/main" id="{EB714AA5-5C92-1ADE-045F-4E7DBDC83325}"/>
              </a:ext>
            </a:extLst>
          </p:cNvPr>
          <p:cNvSpPr/>
          <p:nvPr/>
        </p:nvSpPr>
        <p:spPr>
          <a:xfrm rot="1363340">
            <a:off x="4767766" y="4498126"/>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5" name="Oval 76">
            <a:extLst>
              <a:ext uri="{FF2B5EF4-FFF2-40B4-BE49-F238E27FC236}">
                <a16:creationId xmlns:a16="http://schemas.microsoft.com/office/drawing/2014/main" id="{A8CD48B3-7C58-BCE5-AF99-1C8E144B7FB1}"/>
              </a:ext>
            </a:extLst>
          </p:cNvPr>
          <p:cNvSpPr/>
          <p:nvPr/>
        </p:nvSpPr>
        <p:spPr>
          <a:xfrm>
            <a:off x="5096168" y="3094983"/>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latin typeface="+mj-lt"/>
            </a:endParaRPr>
          </a:p>
        </p:txBody>
      </p:sp>
      <p:sp>
        <p:nvSpPr>
          <p:cNvPr id="16" name="TextBox 77">
            <a:extLst>
              <a:ext uri="{FF2B5EF4-FFF2-40B4-BE49-F238E27FC236}">
                <a16:creationId xmlns:a16="http://schemas.microsoft.com/office/drawing/2014/main" id="{558823E8-7B6E-96AE-283B-A70253D710F3}"/>
              </a:ext>
            </a:extLst>
          </p:cNvPr>
          <p:cNvSpPr txBox="1"/>
          <p:nvPr/>
        </p:nvSpPr>
        <p:spPr>
          <a:xfrm>
            <a:off x="2840542" y="5337298"/>
            <a:ext cx="1689950" cy="400110"/>
          </a:xfrm>
          <a:prstGeom prst="rect">
            <a:avLst/>
          </a:prstGeom>
          <a:noFill/>
        </p:spPr>
        <p:txBody>
          <a:bodyPr wrap="none" rtlCol="0" anchor="b" anchorCtr="0">
            <a:spAutoFit/>
          </a:bodyPr>
          <a:lstStyle/>
          <a:p>
            <a:pPr algn="r"/>
            <a:r>
              <a:rPr lang="en-GB" sz="2000" b="1" dirty="0">
                <a:solidFill>
                  <a:srgbClr val="F16924"/>
                </a:solidFill>
                <a:ea typeface="League Spartan" charset="0"/>
                <a:cs typeface="Poppins" pitchFamily="2" charset="77"/>
              </a:rPr>
              <a:t>Εξωτερική είσοδος</a:t>
            </a:r>
          </a:p>
        </p:txBody>
      </p:sp>
      <p:sp>
        <p:nvSpPr>
          <p:cNvPr id="17" name="Subtitle 2">
            <a:extLst>
              <a:ext uri="{FF2B5EF4-FFF2-40B4-BE49-F238E27FC236}">
                <a16:creationId xmlns:a16="http://schemas.microsoft.com/office/drawing/2014/main" id="{3E5177AF-7A31-1DEA-3061-20A32B8D00D8}"/>
              </a:ext>
            </a:extLst>
          </p:cNvPr>
          <p:cNvSpPr txBox="1">
            <a:spLocks/>
          </p:cNvSpPr>
          <p:nvPr/>
        </p:nvSpPr>
        <p:spPr>
          <a:xfrm>
            <a:off x="998510" y="5714561"/>
            <a:ext cx="3531982"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ες προσφορές θέλουμε να διαθέσουμε; Πώς βλέπουμε πώς χρησιμοποιήθηκαν αυτές οι προσφορές;</a:t>
            </a:r>
          </a:p>
        </p:txBody>
      </p:sp>
      <p:sp>
        <p:nvSpPr>
          <p:cNvPr id="18" name="TextBox 85">
            <a:extLst>
              <a:ext uri="{FF2B5EF4-FFF2-40B4-BE49-F238E27FC236}">
                <a16:creationId xmlns:a16="http://schemas.microsoft.com/office/drawing/2014/main" id="{913CC629-6473-E91A-4B42-2F8C214E9676}"/>
              </a:ext>
            </a:extLst>
          </p:cNvPr>
          <p:cNvSpPr txBox="1"/>
          <p:nvPr/>
        </p:nvSpPr>
        <p:spPr>
          <a:xfrm>
            <a:off x="6958194" y="5375998"/>
            <a:ext cx="1650708" cy="400110"/>
          </a:xfrm>
          <a:prstGeom prst="rect">
            <a:avLst/>
          </a:prstGeom>
          <a:noFill/>
        </p:spPr>
        <p:txBody>
          <a:bodyPr wrap="none" rtlCol="0" anchor="b" anchorCtr="0">
            <a:spAutoFit/>
          </a:bodyPr>
          <a:lstStyle/>
          <a:p>
            <a:r>
              <a:rPr lang="en-GB" sz="2000" b="1" dirty="0">
                <a:solidFill>
                  <a:srgbClr val="B41F7A"/>
                </a:solidFill>
                <a:ea typeface="League Spartan" charset="0"/>
                <a:cs typeface="Poppins" pitchFamily="2" charset="77"/>
              </a:rPr>
              <a:t>Εσωτερική είσοδος</a:t>
            </a:r>
          </a:p>
        </p:txBody>
      </p:sp>
      <p:sp>
        <p:nvSpPr>
          <p:cNvPr id="19" name="Subtitle 2">
            <a:extLst>
              <a:ext uri="{FF2B5EF4-FFF2-40B4-BE49-F238E27FC236}">
                <a16:creationId xmlns:a16="http://schemas.microsoft.com/office/drawing/2014/main" id="{44B168B1-1E45-CAED-6350-57D925CDD3E2}"/>
              </a:ext>
            </a:extLst>
          </p:cNvPr>
          <p:cNvSpPr txBox="1">
            <a:spLocks/>
          </p:cNvSpPr>
          <p:nvPr/>
        </p:nvSpPr>
        <p:spPr>
          <a:xfrm>
            <a:off x="7048366" y="5764374"/>
            <a:ext cx="419230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Τι θέλουμε να δημιουργήσουμε στον οργανισμό; Τι μας δείχνει αν έχουμε χρησιμοποιήσει αποτελεσματικά τους πόρους μας;</a:t>
            </a:r>
          </a:p>
        </p:txBody>
      </p:sp>
      <p:sp>
        <p:nvSpPr>
          <p:cNvPr id="20" name="TextBox 79">
            <a:extLst>
              <a:ext uri="{FF2B5EF4-FFF2-40B4-BE49-F238E27FC236}">
                <a16:creationId xmlns:a16="http://schemas.microsoft.com/office/drawing/2014/main" id="{2C6CE4C0-5F21-536A-0429-BAEE584F7DCB}"/>
              </a:ext>
            </a:extLst>
          </p:cNvPr>
          <p:cNvSpPr txBox="1"/>
          <p:nvPr/>
        </p:nvSpPr>
        <p:spPr>
          <a:xfrm>
            <a:off x="3712389" y="1255166"/>
            <a:ext cx="1056188" cy="400110"/>
          </a:xfrm>
          <a:prstGeom prst="rect">
            <a:avLst/>
          </a:prstGeom>
          <a:noFill/>
        </p:spPr>
        <p:txBody>
          <a:bodyPr wrap="none" rtlCol="0" anchor="b" anchorCtr="0">
            <a:spAutoFit/>
          </a:bodyPr>
          <a:lstStyle/>
          <a:p>
            <a:pPr algn="r"/>
            <a:r>
              <a:rPr lang="en-GB" sz="2000" b="1" dirty="0">
                <a:solidFill>
                  <a:srgbClr val="B41F7A"/>
                </a:solidFill>
                <a:ea typeface="League Spartan" charset="0"/>
                <a:cs typeface="Poppins" pitchFamily="2" charset="77"/>
              </a:rPr>
              <a:t>Εκροή</a:t>
            </a:r>
          </a:p>
        </p:txBody>
      </p:sp>
      <p:sp>
        <p:nvSpPr>
          <p:cNvPr id="21" name="Subtitle 2">
            <a:extLst>
              <a:ext uri="{FF2B5EF4-FFF2-40B4-BE49-F238E27FC236}">
                <a16:creationId xmlns:a16="http://schemas.microsoft.com/office/drawing/2014/main" id="{25AC9EE4-0828-1845-802A-B573693F0332}"/>
              </a:ext>
            </a:extLst>
          </p:cNvPr>
          <p:cNvSpPr txBox="1">
            <a:spLocks/>
          </p:cNvSpPr>
          <p:nvPr/>
        </p:nvSpPr>
        <p:spPr>
          <a:xfrm>
            <a:off x="998510" y="1610982"/>
            <a:ext cx="3724119"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προσδιορίζουμε αν οι στόχοι έχουν επιτευχθεί;</a:t>
            </a:r>
          </a:p>
        </p:txBody>
      </p:sp>
      <p:sp>
        <p:nvSpPr>
          <p:cNvPr id="22" name="TextBox 87">
            <a:extLst>
              <a:ext uri="{FF2B5EF4-FFF2-40B4-BE49-F238E27FC236}">
                <a16:creationId xmlns:a16="http://schemas.microsoft.com/office/drawing/2014/main" id="{261406BE-63D2-4D98-8EED-7424A66B909A}"/>
              </a:ext>
            </a:extLst>
          </p:cNvPr>
          <p:cNvSpPr txBox="1"/>
          <p:nvPr/>
        </p:nvSpPr>
        <p:spPr>
          <a:xfrm>
            <a:off x="6898295" y="1241398"/>
            <a:ext cx="944810" cy="400110"/>
          </a:xfrm>
          <a:prstGeom prst="rect">
            <a:avLst/>
          </a:prstGeom>
          <a:noFill/>
        </p:spPr>
        <p:txBody>
          <a:bodyPr wrap="none" rtlCol="0" anchor="b" anchorCtr="0">
            <a:spAutoFit/>
          </a:bodyPr>
          <a:lstStyle/>
          <a:p>
            <a:r>
              <a:rPr lang="en-GB" sz="2000" b="1" dirty="0">
                <a:solidFill>
                  <a:srgbClr val="F16924"/>
                </a:solidFill>
                <a:ea typeface="League Spartan" charset="0"/>
                <a:cs typeface="Poppins" pitchFamily="2" charset="77"/>
              </a:rPr>
              <a:t>Στόχοι</a:t>
            </a:r>
          </a:p>
        </p:txBody>
      </p:sp>
      <p:sp>
        <p:nvSpPr>
          <p:cNvPr id="23" name="Subtitle 2">
            <a:extLst>
              <a:ext uri="{FF2B5EF4-FFF2-40B4-BE49-F238E27FC236}">
                <a16:creationId xmlns:a16="http://schemas.microsoft.com/office/drawing/2014/main" id="{1EA89D2D-EC88-DC01-61CB-02BAFDB5CEFD}"/>
              </a:ext>
            </a:extLst>
          </p:cNvPr>
          <p:cNvSpPr txBox="1">
            <a:spLocks/>
          </p:cNvSpPr>
          <p:nvPr/>
        </p:nvSpPr>
        <p:spPr>
          <a:xfrm>
            <a:off x="7005889" y="1590622"/>
            <a:ext cx="3114255" cy="52194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Τι θέλουμε να επιτύχουμε; Πώς μετράμε την επιτυχία;</a:t>
            </a:r>
          </a:p>
        </p:txBody>
      </p:sp>
      <p:sp>
        <p:nvSpPr>
          <p:cNvPr id="24" name="TextBox 81">
            <a:extLst>
              <a:ext uri="{FF2B5EF4-FFF2-40B4-BE49-F238E27FC236}">
                <a16:creationId xmlns:a16="http://schemas.microsoft.com/office/drawing/2014/main" id="{B1BD03DF-1DC5-E7F9-ECEA-149FD0AAAC6D}"/>
              </a:ext>
            </a:extLst>
          </p:cNvPr>
          <p:cNvSpPr txBox="1"/>
          <p:nvPr/>
        </p:nvSpPr>
        <p:spPr>
          <a:xfrm>
            <a:off x="1980623" y="3912642"/>
            <a:ext cx="1858650" cy="400110"/>
          </a:xfrm>
          <a:prstGeom prst="rect">
            <a:avLst/>
          </a:prstGeom>
          <a:noFill/>
        </p:spPr>
        <p:txBody>
          <a:bodyPr wrap="none" rtlCol="0" anchor="b" anchorCtr="0">
            <a:spAutoFit/>
          </a:bodyPr>
          <a:lstStyle/>
          <a:p>
            <a:pPr algn="r"/>
            <a:r>
              <a:rPr lang="en-GB" sz="2000" b="1" dirty="0">
                <a:solidFill>
                  <a:srgbClr val="EDA13E"/>
                </a:solidFill>
                <a:ea typeface="League Spartan" charset="0"/>
                <a:cs typeface="Poppins" pitchFamily="2" charset="77"/>
              </a:rPr>
              <a:t>Άμεσο αποτέλεσμα</a:t>
            </a:r>
          </a:p>
        </p:txBody>
      </p:sp>
      <p:sp>
        <p:nvSpPr>
          <p:cNvPr id="25" name="Subtitle 2">
            <a:extLst>
              <a:ext uri="{FF2B5EF4-FFF2-40B4-BE49-F238E27FC236}">
                <a16:creationId xmlns:a16="http://schemas.microsoft.com/office/drawing/2014/main" id="{2BF658CD-9E3A-D8C9-0458-66DA3DF95A2F}"/>
              </a:ext>
            </a:extLst>
          </p:cNvPr>
          <p:cNvSpPr txBox="1">
            <a:spLocks/>
          </p:cNvSpPr>
          <p:nvPr/>
        </p:nvSpPr>
        <p:spPr>
          <a:xfrm>
            <a:off x="53883" y="4276300"/>
            <a:ext cx="3785390"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α αντίληψη επιδιώκουμε;</a:t>
            </a:r>
          </a:p>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ώς μπορούμε να αναγνωρίσουμε αν έχει πραγματοποιηθεί αυτή η αλλαγή;</a:t>
            </a:r>
          </a:p>
        </p:txBody>
      </p:sp>
      <p:sp>
        <p:nvSpPr>
          <p:cNvPr id="26" name="TextBox 89">
            <a:extLst>
              <a:ext uri="{FF2B5EF4-FFF2-40B4-BE49-F238E27FC236}">
                <a16:creationId xmlns:a16="http://schemas.microsoft.com/office/drawing/2014/main" id="{96FEF90C-6320-8B84-619C-EA8D2E53EC33}"/>
              </a:ext>
            </a:extLst>
          </p:cNvPr>
          <p:cNvSpPr txBox="1"/>
          <p:nvPr/>
        </p:nvSpPr>
        <p:spPr>
          <a:xfrm>
            <a:off x="7946925" y="3931381"/>
            <a:ext cx="755335" cy="400110"/>
          </a:xfrm>
          <a:prstGeom prst="rect">
            <a:avLst/>
          </a:prstGeom>
          <a:noFill/>
        </p:spPr>
        <p:txBody>
          <a:bodyPr wrap="none" rtlCol="0" anchor="b" anchorCtr="0">
            <a:spAutoFit/>
          </a:bodyPr>
          <a:lstStyle/>
          <a:p>
            <a:r>
              <a:rPr lang="en-GB" sz="2000" b="1" dirty="0">
                <a:solidFill>
                  <a:srgbClr val="7F1C58"/>
                </a:solidFill>
                <a:ea typeface="League Spartan" charset="0"/>
                <a:cs typeface="Poppins" pitchFamily="2" charset="77"/>
              </a:rPr>
              <a:t>Είσοδος</a:t>
            </a:r>
          </a:p>
        </p:txBody>
      </p:sp>
      <p:sp>
        <p:nvSpPr>
          <p:cNvPr id="27" name="Subtitle 2">
            <a:extLst>
              <a:ext uri="{FF2B5EF4-FFF2-40B4-BE49-F238E27FC236}">
                <a16:creationId xmlns:a16="http://schemas.microsoft.com/office/drawing/2014/main" id="{813FA588-0DD9-DB34-1C58-E209393DBB17}"/>
              </a:ext>
            </a:extLst>
          </p:cNvPr>
          <p:cNvSpPr txBox="1">
            <a:spLocks/>
          </p:cNvSpPr>
          <p:nvPr/>
        </p:nvSpPr>
        <p:spPr>
          <a:xfrm>
            <a:off x="8006065" y="4303406"/>
            <a:ext cx="3597355"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ες είναι οι προσωπικές και οικονομικές μας απαιτήσεις; Για ποιο λόγο θέλουμε να χρησιμοποιήσουμε αυτούς τους πόρους;</a:t>
            </a:r>
          </a:p>
        </p:txBody>
      </p:sp>
      <p:sp>
        <p:nvSpPr>
          <p:cNvPr id="28" name="TextBox 83">
            <a:extLst>
              <a:ext uri="{FF2B5EF4-FFF2-40B4-BE49-F238E27FC236}">
                <a16:creationId xmlns:a16="http://schemas.microsoft.com/office/drawing/2014/main" id="{FA85F8DC-53B7-BD92-9812-563238766A61}"/>
              </a:ext>
            </a:extLst>
          </p:cNvPr>
          <p:cNvSpPr txBox="1"/>
          <p:nvPr/>
        </p:nvSpPr>
        <p:spPr>
          <a:xfrm>
            <a:off x="1722435" y="2408099"/>
            <a:ext cx="2041393" cy="400110"/>
          </a:xfrm>
          <a:prstGeom prst="rect">
            <a:avLst/>
          </a:prstGeom>
          <a:noFill/>
        </p:spPr>
        <p:txBody>
          <a:bodyPr wrap="none" rtlCol="0" anchor="b" anchorCtr="0">
            <a:spAutoFit/>
          </a:bodyPr>
          <a:lstStyle/>
          <a:p>
            <a:pPr algn="r"/>
            <a:r>
              <a:rPr lang="en-GB" sz="2000" b="1" dirty="0">
                <a:solidFill>
                  <a:srgbClr val="7F1C58"/>
                </a:solidFill>
                <a:ea typeface="League Spartan" charset="0"/>
                <a:cs typeface="Poppins" pitchFamily="2" charset="77"/>
              </a:rPr>
              <a:t>Έμμεσο αποτέλεσμα</a:t>
            </a:r>
          </a:p>
        </p:txBody>
      </p:sp>
      <p:sp>
        <p:nvSpPr>
          <p:cNvPr id="29" name="Subtitle 2">
            <a:extLst>
              <a:ext uri="{FF2B5EF4-FFF2-40B4-BE49-F238E27FC236}">
                <a16:creationId xmlns:a16="http://schemas.microsoft.com/office/drawing/2014/main" id="{16FD39F5-8CA4-7858-992F-CC815ECAB93C}"/>
              </a:ext>
            </a:extLst>
          </p:cNvPr>
          <p:cNvSpPr txBox="1">
            <a:spLocks/>
          </p:cNvSpPr>
          <p:nvPr/>
        </p:nvSpPr>
        <p:spPr>
          <a:xfrm>
            <a:off x="314793" y="2741843"/>
            <a:ext cx="3449035" cy="100925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Τι είδους συμπεριφορά/στάσεις επιδιώκουμε; Πώς διαπιστώνουμε αν έχουμε πλησιάσει αυτούς τους στόχους;</a:t>
            </a:r>
          </a:p>
        </p:txBody>
      </p:sp>
      <p:sp>
        <p:nvSpPr>
          <p:cNvPr id="30" name="TextBox 91">
            <a:extLst>
              <a:ext uri="{FF2B5EF4-FFF2-40B4-BE49-F238E27FC236}">
                <a16:creationId xmlns:a16="http://schemas.microsoft.com/office/drawing/2014/main" id="{D5EE7F6B-A0E5-DFC2-DA5D-4FCC80DC4ACD}"/>
              </a:ext>
            </a:extLst>
          </p:cNvPr>
          <p:cNvSpPr txBox="1"/>
          <p:nvPr/>
        </p:nvSpPr>
        <p:spPr>
          <a:xfrm>
            <a:off x="7880253" y="2570573"/>
            <a:ext cx="1516825" cy="400110"/>
          </a:xfrm>
          <a:prstGeom prst="rect">
            <a:avLst/>
          </a:prstGeom>
          <a:noFill/>
        </p:spPr>
        <p:txBody>
          <a:bodyPr wrap="none" rtlCol="0" anchor="b" anchorCtr="0">
            <a:spAutoFit/>
          </a:bodyPr>
          <a:lstStyle/>
          <a:p>
            <a:r>
              <a:rPr lang="en-GB" sz="2000" b="1" dirty="0">
                <a:solidFill>
                  <a:srgbClr val="EDA13E"/>
                </a:solidFill>
                <a:ea typeface="League Spartan" charset="0"/>
                <a:cs typeface="Poppins" pitchFamily="2" charset="77"/>
              </a:rPr>
              <a:t>Υποέργα</a:t>
            </a:r>
          </a:p>
        </p:txBody>
      </p:sp>
      <p:sp>
        <p:nvSpPr>
          <p:cNvPr id="31" name="Subtitle 2">
            <a:extLst>
              <a:ext uri="{FF2B5EF4-FFF2-40B4-BE49-F238E27FC236}">
                <a16:creationId xmlns:a16="http://schemas.microsoft.com/office/drawing/2014/main" id="{0DC7FDF5-4FE1-535F-B618-817CA2A3D203}"/>
              </a:ext>
            </a:extLst>
          </p:cNvPr>
          <p:cNvSpPr txBox="1">
            <a:spLocks/>
          </p:cNvSpPr>
          <p:nvPr/>
        </p:nvSpPr>
        <p:spPr>
          <a:xfrm>
            <a:off x="7946925" y="2912834"/>
            <a:ext cx="3429049" cy="7656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Ποια ορόσημα θέτουμε; Πώς ξέρουμε αν βρισκόμαστε στο σωστό δρόμο;</a:t>
            </a:r>
          </a:p>
        </p:txBody>
      </p:sp>
      <p:sp>
        <p:nvSpPr>
          <p:cNvPr id="32" name="Gleichschenkliges Dreieck 3">
            <a:extLst>
              <a:ext uri="{FF2B5EF4-FFF2-40B4-BE49-F238E27FC236}">
                <a16:creationId xmlns:a16="http://schemas.microsoft.com/office/drawing/2014/main" id="{A70A7086-9BA6-ABC2-9C0A-B492601374ED}"/>
              </a:ext>
            </a:extLst>
          </p:cNvPr>
          <p:cNvSpPr/>
          <p:nvPr/>
        </p:nvSpPr>
        <p:spPr>
          <a:xfrm rot="2710436">
            <a:off x="4823804" y="2804521"/>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3" name="Gleichschenkliges Dreieck 92">
            <a:extLst>
              <a:ext uri="{FF2B5EF4-FFF2-40B4-BE49-F238E27FC236}">
                <a16:creationId xmlns:a16="http://schemas.microsoft.com/office/drawing/2014/main" id="{64D2C037-E1FB-938E-23DE-9D3A7D75B94C}"/>
              </a:ext>
            </a:extLst>
          </p:cNvPr>
          <p:cNvSpPr/>
          <p:nvPr/>
        </p:nvSpPr>
        <p:spPr>
          <a:xfrm rot="5400000">
            <a:off x="5702688" y="2495425"/>
            <a:ext cx="544727" cy="28686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4" name="Gleichschenkliges Dreieck 93">
            <a:extLst>
              <a:ext uri="{FF2B5EF4-FFF2-40B4-BE49-F238E27FC236}">
                <a16:creationId xmlns:a16="http://schemas.microsoft.com/office/drawing/2014/main" id="{5A606D7C-B0FC-1253-CC18-A024473F4B5C}"/>
              </a:ext>
            </a:extLst>
          </p:cNvPr>
          <p:cNvSpPr/>
          <p:nvPr/>
        </p:nvSpPr>
        <p:spPr>
          <a:xfrm rot="8087739">
            <a:off x="6540506" y="295154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5" name="Gleichschenkliges Dreieck 94">
            <a:extLst>
              <a:ext uri="{FF2B5EF4-FFF2-40B4-BE49-F238E27FC236}">
                <a16:creationId xmlns:a16="http://schemas.microsoft.com/office/drawing/2014/main" id="{56A16D80-7A52-4CC4-A11E-949A5499123C}"/>
              </a:ext>
            </a:extLst>
          </p:cNvPr>
          <p:cNvSpPr/>
          <p:nvPr/>
        </p:nvSpPr>
        <p:spPr>
          <a:xfrm rot="10800000">
            <a:off x="6812869" y="3838831"/>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6" name="Gleichschenkliges Dreieck 95">
            <a:extLst>
              <a:ext uri="{FF2B5EF4-FFF2-40B4-BE49-F238E27FC236}">
                <a16:creationId xmlns:a16="http://schemas.microsoft.com/office/drawing/2014/main" id="{145C3A34-162C-ADA7-312B-18DD454B1253}"/>
              </a:ext>
            </a:extLst>
          </p:cNvPr>
          <p:cNvSpPr/>
          <p:nvPr/>
        </p:nvSpPr>
        <p:spPr>
          <a:xfrm rot="13537568">
            <a:off x="6372076" y="465413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7" name="Gleichschenkliges Dreieck 96">
            <a:extLst>
              <a:ext uri="{FF2B5EF4-FFF2-40B4-BE49-F238E27FC236}">
                <a16:creationId xmlns:a16="http://schemas.microsoft.com/office/drawing/2014/main" id="{77017F2A-47D3-7E1F-8622-B411286097FE}"/>
              </a:ext>
            </a:extLst>
          </p:cNvPr>
          <p:cNvSpPr/>
          <p:nvPr/>
        </p:nvSpPr>
        <p:spPr>
          <a:xfrm rot="16200000">
            <a:off x="5496979" y="4935209"/>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8" name="Gleichschenkliges Dreieck 97">
            <a:extLst>
              <a:ext uri="{FF2B5EF4-FFF2-40B4-BE49-F238E27FC236}">
                <a16:creationId xmlns:a16="http://schemas.microsoft.com/office/drawing/2014/main" id="{385CD798-DBDB-9254-30B8-3028311F2770}"/>
              </a:ext>
            </a:extLst>
          </p:cNvPr>
          <p:cNvSpPr/>
          <p:nvPr/>
        </p:nvSpPr>
        <p:spPr>
          <a:xfrm rot="18901129">
            <a:off x="4649191" y="4509314"/>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39" name="Gleichschenkliges Dreieck 98">
            <a:extLst>
              <a:ext uri="{FF2B5EF4-FFF2-40B4-BE49-F238E27FC236}">
                <a16:creationId xmlns:a16="http://schemas.microsoft.com/office/drawing/2014/main" id="{DCB7AF8C-1BC5-4EF7-2665-C8773260BBC4}"/>
              </a:ext>
            </a:extLst>
          </p:cNvPr>
          <p:cNvSpPr/>
          <p:nvPr/>
        </p:nvSpPr>
        <p:spPr>
          <a:xfrm>
            <a:off x="4404573" y="3625865"/>
            <a:ext cx="544727" cy="286867"/>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rgbClr val="595959"/>
              </a:solidFill>
            </a:endParaRPr>
          </a:p>
        </p:txBody>
      </p:sp>
      <p:sp>
        <p:nvSpPr>
          <p:cNvPr id="42" name="Text Placeholder 2">
            <a:extLst>
              <a:ext uri="{FF2B5EF4-FFF2-40B4-BE49-F238E27FC236}">
                <a16:creationId xmlns:a16="http://schemas.microsoft.com/office/drawing/2014/main" id="{9C122CEB-DA05-21CC-8BB6-037DC72F3FA3}"/>
              </a:ext>
            </a:extLst>
          </p:cNvPr>
          <p:cNvSpPr txBox="1">
            <a:spLocks/>
          </p:cNvSpPr>
          <p:nvPr/>
        </p:nvSpPr>
        <p:spPr>
          <a:xfrm>
            <a:off x="5995521" y="237523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1</a:t>
            </a:r>
          </a:p>
        </p:txBody>
      </p:sp>
      <p:sp>
        <p:nvSpPr>
          <p:cNvPr id="43" name="Text Placeholder 2">
            <a:extLst>
              <a:ext uri="{FF2B5EF4-FFF2-40B4-BE49-F238E27FC236}">
                <a16:creationId xmlns:a16="http://schemas.microsoft.com/office/drawing/2014/main" id="{0C9527D4-36C9-71F3-331E-A7C4894EF440}"/>
              </a:ext>
            </a:extLst>
          </p:cNvPr>
          <p:cNvSpPr txBox="1">
            <a:spLocks/>
          </p:cNvSpPr>
          <p:nvPr/>
        </p:nvSpPr>
        <p:spPr>
          <a:xfrm>
            <a:off x="6689865" y="306518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2</a:t>
            </a:r>
          </a:p>
        </p:txBody>
      </p:sp>
      <p:sp>
        <p:nvSpPr>
          <p:cNvPr id="44" name="Text Placeholder 2">
            <a:extLst>
              <a:ext uri="{FF2B5EF4-FFF2-40B4-BE49-F238E27FC236}">
                <a16:creationId xmlns:a16="http://schemas.microsoft.com/office/drawing/2014/main" id="{A7AF0CFB-880F-6CE4-1E50-9DECE8491038}"/>
              </a:ext>
            </a:extLst>
          </p:cNvPr>
          <p:cNvSpPr txBox="1">
            <a:spLocks/>
          </p:cNvSpPr>
          <p:nvPr/>
        </p:nvSpPr>
        <p:spPr>
          <a:xfrm>
            <a:off x="6717862" y="4086895"/>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3</a:t>
            </a:r>
          </a:p>
        </p:txBody>
      </p:sp>
      <p:sp>
        <p:nvSpPr>
          <p:cNvPr id="45" name="Text Placeholder 2">
            <a:extLst>
              <a:ext uri="{FF2B5EF4-FFF2-40B4-BE49-F238E27FC236}">
                <a16:creationId xmlns:a16="http://schemas.microsoft.com/office/drawing/2014/main" id="{AA396BFF-5148-C2F0-4D82-9AD74400464B}"/>
              </a:ext>
            </a:extLst>
          </p:cNvPr>
          <p:cNvSpPr txBox="1">
            <a:spLocks/>
          </p:cNvSpPr>
          <p:nvPr/>
        </p:nvSpPr>
        <p:spPr>
          <a:xfrm>
            <a:off x="5953924" y="4909741"/>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4</a:t>
            </a:r>
          </a:p>
        </p:txBody>
      </p:sp>
      <p:sp>
        <p:nvSpPr>
          <p:cNvPr id="46" name="Text Placeholder 2">
            <a:extLst>
              <a:ext uri="{FF2B5EF4-FFF2-40B4-BE49-F238E27FC236}">
                <a16:creationId xmlns:a16="http://schemas.microsoft.com/office/drawing/2014/main" id="{7DFC996C-5BBD-4501-398A-133E591BF4EE}"/>
              </a:ext>
            </a:extLst>
          </p:cNvPr>
          <p:cNvSpPr txBox="1">
            <a:spLocks/>
          </p:cNvSpPr>
          <p:nvPr/>
        </p:nvSpPr>
        <p:spPr>
          <a:xfrm>
            <a:off x="4920660" y="4867890"/>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5</a:t>
            </a:r>
          </a:p>
        </p:txBody>
      </p:sp>
      <p:sp>
        <p:nvSpPr>
          <p:cNvPr id="47" name="Text Placeholder 2">
            <a:extLst>
              <a:ext uri="{FF2B5EF4-FFF2-40B4-BE49-F238E27FC236}">
                <a16:creationId xmlns:a16="http://schemas.microsoft.com/office/drawing/2014/main" id="{3EE281E7-7D8E-4101-3B97-E7FCB410F9B1}"/>
              </a:ext>
            </a:extLst>
          </p:cNvPr>
          <p:cNvSpPr txBox="1">
            <a:spLocks/>
          </p:cNvSpPr>
          <p:nvPr/>
        </p:nvSpPr>
        <p:spPr>
          <a:xfrm>
            <a:off x="4258738" y="3950356"/>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6</a:t>
            </a:r>
          </a:p>
        </p:txBody>
      </p:sp>
      <p:sp>
        <p:nvSpPr>
          <p:cNvPr id="48" name="Text Placeholder 2">
            <a:extLst>
              <a:ext uri="{FF2B5EF4-FFF2-40B4-BE49-F238E27FC236}">
                <a16:creationId xmlns:a16="http://schemas.microsoft.com/office/drawing/2014/main" id="{5F9AD0B4-C934-7FBC-B129-04ED2AC6FE06}"/>
              </a:ext>
            </a:extLst>
          </p:cNvPr>
          <p:cNvSpPr txBox="1">
            <a:spLocks/>
          </p:cNvSpPr>
          <p:nvPr/>
        </p:nvSpPr>
        <p:spPr>
          <a:xfrm>
            <a:off x="4290257" y="2976494"/>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7</a:t>
            </a:r>
          </a:p>
        </p:txBody>
      </p:sp>
      <p:sp>
        <p:nvSpPr>
          <p:cNvPr id="49" name="Text Placeholder 2">
            <a:extLst>
              <a:ext uri="{FF2B5EF4-FFF2-40B4-BE49-F238E27FC236}">
                <a16:creationId xmlns:a16="http://schemas.microsoft.com/office/drawing/2014/main" id="{6606AC2E-0331-2766-75EA-B9090AECF0F7}"/>
              </a:ext>
            </a:extLst>
          </p:cNvPr>
          <p:cNvSpPr txBox="1">
            <a:spLocks/>
          </p:cNvSpPr>
          <p:nvPr/>
        </p:nvSpPr>
        <p:spPr>
          <a:xfrm>
            <a:off x="5038230" y="2271127"/>
            <a:ext cx="790734" cy="6400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08</a:t>
            </a:r>
          </a:p>
        </p:txBody>
      </p:sp>
    </p:spTree>
    <p:extLst>
      <p:ext uri="{BB962C8B-B14F-4D97-AF65-F5344CB8AC3E}">
        <p14:creationId xmlns:p14="http://schemas.microsoft.com/office/powerpoint/2010/main" val="103921909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6735229" y="407194"/>
            <a:ext cx="5192700" cy="6359561"/>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Ο κόσμος των αριθμών</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Δομή του συστήματος βασικών στοιχείων - υπερκείμενοι στόχοι και στρατηγικές ως βάση</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Ιδιοκτήτης διαδικασίας: Από την ανάλυση στην υποβολή εκθέσεων (μετατροπή των δεδομένων σε πληροφορίες)</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Κατανόηση του κόσμου του "πελάτη</a:t>
            </a:r>
          </a:p>
          <a:p>
            <a:pP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Από τον κόσμο των αριθμών στον κόσμο της δράσης</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Κοινές εικόνες σχετικά με τις αξίες (π.χ. διαφάνεια)</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Ο ελεγκτής</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Μέτρα και μέτρα ελέγχου</a:t>
            </a:r>
          </a:p>
          <a:p>
            <a:pPr>
              <a:lnSpc>
                <a:spcPts val="2240"/>
              </a:lnSpc>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buClr>
                <a:srgbClr val="B41F7A"/>
              </a:buClr>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Lato Light" panose="020F0502020204030203" pitchFamily="34" charset="0"/>
              </a:rPr>
              <a:t>Η επικοινωνία ως παράγοντας επιτυχίας</a:t>
            </a:r>
          </a:p>
          <a:p>
            <a:pPr marL="342900" indent="-342900">
              <a:lnSpc>
                <a:spcPts val="2240"/>
              </a:lnSpc>
              <a:buClr>
                <a:srgbClr val="B41F7A"/>
              </a:buClr>
              <a:buFont typeface="Arial" panose="020B0604020202020204" pitchFamily="34" charset="0"/>
              <a:buChar char="•"/>
              <a:defRPr/>
            </a:pPr>
            <a:r>
              <a:rPr lang="en-GB" sz="2200" dirty="0">
                <a:solidFill>
                  <a:srgbClr val="595959"/>
                </a:solidFill>
                <a:ea typeface="Lato Light" panose="020F0502020204030203" pitchFamily="34" charset="0"/>
                <a:cs typeface="Lato Light" panose="020F0502020204030203" pitchFamily="34" charset="0"/>
              </a:rPr>
              <a:t>Διασφάλιση της κοινής εικόνας</a:t>
            </a:r>
          </a:p>
          <a:p>
            <a:pPr>
              <a:lnSpc>
                <a:spcPct val="15000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5680755"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688814" y="414736"/>
            <a:ext cx="4451077" cy="3041709"/>
          </a:xfrm>
        </p:spPr>
        <p:txBody>
          <a:bodyPr>
            <a:normAutofit/>
          </a:bodyPr>
          <a:lstStyle/>
          <a:p>
            <a:r>
              <a:rPr lang="en-GB" dirty="0">
                <a:solidFill>
                  <a:schemeClr val="bg1"/>
                </a:solidFill>
              </a:rPr>
              <a:t>Κίνητρα σε κρίση: Ο ρόλος του ελέγχου</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5684018" y="572220"/>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6032092" y="5330627"/>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5684018" y="3161237"/>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5684018" y="5451317"/>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692495" y="1872676"/>
            <a:ext cx="4764278"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Οι εργαζόμενοι με κίνητρα καταβάλλουν τη μέγιστη δυνατή προσπάθεια για την επίτευξη των στόχων </a:t>
            </a:r>
            <a:r>
              <a:rPr lang="en-US" sz="2000" dirty="0" err="1">
                <a:solidFill>
                  <a:schemeClr val="bg1"/>
                </a:solidFill>
              </a:rPr>
              <a:t>του οργανισμού.</a:t>
            </a:r>
            <a:r>
              <a:rPr lang="en-US" sz="2000" dirty="0">
                <a:solidFill>
                  <a:schemeClr val="bg1"/>
                </a:solidFill>
              </a:rPr>
              <a:t> Η παρακίνηση βελτιώνει την εργασιακή απόδοση γεφυρώνοντας το χάσμα μεταξύ της ικανότητας και της προθυμίας για εργασία. Η καλύτερη απόδοση οδηγεί σε υψηλότερη παραγωγικότητα και κατά συνέπεια σε χαμηλότερο κόστος παραγωγής.  Ειδικά κατά τη διάρκεια της κρίσης, το Controlling παίζει σημαντικό ρόλο. Παρέχει δομή και επιτρέπει την εξήγηση της αναγκαιότητας των αποφάσεων. Το Controlling βοηθά στην επικοινωνία κατά τη διάρκεια της κρίσης και συνεπώς στην παρακίνηση</a:t>
            </a:r>
          </a:p>
        </p:txBody>
      </p:sp>
      <p:sp>
        <p:nvSpPr>
          <p:cNvPr id="4" name="Rectangle 3">
            <a:extLst>
              <a:ext uri="{FF2B5EF4-FFF2-40B4-BE49-F238E27FC236}">
                <a16:creationId xmlns:a16="http://schemas.microsoft.com/office/drawing/2014/main" id="{CC45B7D4-2E3F-83EC-3AED-84EAFD560075}"/>
              </a:ext>
            </a:extLst>
          </p:cNvPr>
          <p:cNvSpPr/>
          <p:nvPr/>
        </p:nvSpPr>
        <p:spPr>
          <a:xfrm>
            <a:off x="688814" y="17512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8" name="Straight Connector 7">
            <a:extLst>
              <a:ext uri="{FF2B5EF4-FFF2-40B4-BE49-F238E27FC236}">
                <a16:creationId xmlns:a16="http://schemas.microsoft.com/office/drawing/2014/main" id="{FECD1B48-9863-6C06-BC63-4EAC5377C182}"/>
              </a:ext>
            </a:extLst>
          </p:cNvPr>
          <p:cNvCxnSpPr>
            <a:cxnSpLocks/>
          </p:cNvCxnSpPr>
          <p:nvPr/>
        </p:nvCxnSpPr>
        <p:spPr>
          <a:xfrm>
            <a:off x="6032092" y="3016215"/>
            <a:ext cx="6159908"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50529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33510"/>
            <a:ext cx="12192000" cy="251394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4062334" y="282511"/>
            <a:ext cx="7914807" cy="1799036"/>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Ο άνθρωπος είναι ένα οπτικό ον.  Η γλώσσα και οι εικόνες δεν συμπίπτουν - "τραβάμε" διαφορετικές εικόνες σε έναν όρο. Τα προβλήματα στην ταύτιση των εικόνων εντοπίζονται στην επικοινωνία - δηλαδή πρέπει να ταιριάξουμε τις εικόνες μας (μέσω της επικοινωνίας!) για να έχουμε μια συνεπή εικόνα.  Η εικόνα και οι αξίες είναι στενά συνδεδεμένες και αποτελούν καθοριστική βάση για την εταιρική κουλτούρα.</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277483"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Κίνητρα σε κρίση: Ο ρόλος του ελέγχου</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92840" y="1109646"/>
            <a:ext cx="176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13" name="Group 12">
            <a:extLst>
              <a:ext uri="{FF2B5EF4-FFF2-40B4-BE49-F238E27FC236}">
                <a16:creationId xmlns:a16="http://schemas.microsoft.com/office/drawing/2014/main" id="{64239BF9-C25F-26EF-1DA0-C4D059319022}"/>
              </a:ext>
            </a:extLst>
          </p:cNvPr>
          <p:cNvGrpSpPr/>
          <p:nvPr/>
        </p:nvGrpSpPr>
        <p:grpSpPr>
          <a:xfrm>
            <a:off x="530826" y="2841641"/>
            <a:ext cx="10699049" cy="3426016"/>
            <a:chOff x="402598" y="2211834"/>
            <a:chExt cx="7446883" cy="4215762"/>
          </a:xfrm>
        </p:grpSpPr>
        <p:cxnSp>
          <p:nvCxnSpPr>
            <p:cNvPr id="14" name="Gerade Verbindung mit Pfeil 38">
              <a:extLst>
                <a:ext uri="{FF2B5EF4-FFF2-40B4-BE49-F238E27FC236}">
                  <a16:creationId xmlns:a16="http://schemas.microsoft.com/office/drawing/2014/main" id="{412636B6-8097-8729-FCC8-19FEDBFC9C58}"/>
                </a:ext>
              </a:extLst>
            </p:cNvPr>
            <p:cNvCxnSpPr>
              <a:cxnSpLocks/>
            </p:cNvCxnSpPr>
            <p:nvPr/>
          </p:nvCxnSpPr>
          <p:spPr>
            <a:xfrm flipV="1">
              <a:off x="669827" y="2298461"/>
              <a:ext cx="0" cy="3627002"/>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39">
              <a:extLst>
                <a:ext uri="{FF2B5EF4-FFF2-40B4-BE49-F238E27FC236}">
                  <a16:creationId xmlns:a16="http://schemas.microsoft.com/office/drawing/2014/main" id="{972D3846-4ADA-83F2-2D23-C5D49107AA7A}"/>
                </a:ext>
              </a:extLst>
            </p:cNvPr>
            <p:cNvCxnSpPr>
              <a:cxnSpLocks/>
            </p:cNvCxnSpPr>
            <p:nvPr/>
          </p:nvCxnSpPr>
          <p:spPr>
            <a:xfrm>
              <a:off x="669827" y="5906213"/>
              <a:ext cx="7122695" cy="0"/>
            </a:xfrm>
            <a:prstGeom prst="straightConnector1">
              <a:avLst/>
            </a:prstGeom>
            <a:ln w="34925">
              <a:solidFill>
                <a:srgbClr val="122E45"/>
              </a:solidFill>
              <a:tailEnd type="triangle"/>
            </a:ln>
          </p:spPr>
          <p:style>
            <a:lnRef idx="1">
              <a:schemeClr val="accent1"/>
            </a:lnRef>
            <a:fillRef idx="0">
              <a:schemeClr val="accent1"/>
            </a:fillRef>
            <a:effectRef idx="0">
              <a:schemeClr val="accent1"/>
            </a:effectRef>
            <a:fontRef idx="minor">
              <a:schemeClr val="tx1"/>
            </a:fontRef>
          </p:style>
        </p:cxnSp>
        <p:sp>
          <p:nvSpPr>
            <p:cNvPr id="16" name="Subtitle 2">
              <a:extLst>
                <a:ext uri="{FF2B5EF4-FFF2-40B4-BE49-F238E27FC236}">
                  <a16:creationId xmlns:a16="http://schemas.microsoft.com/office/drawing/2014/main" id="{F5AA329A-1FE6-09FE-0D57-1A0CFDDC996D}"/>
                </a:ext>
              </a:extLst>
            </p:cNvPr>
            <p:cNvSpPr txBox="1">
              <a:spLocks/>
            </p:cNvSpPr>
            <p:nvPr/>
          </p:nvSpPr>
          <p:spPr>
            <a:xfrm>
              <a:off x="668274" y="6006256"/>
              <a:ext cx="7122692" cy="4213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Χρόνος</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sp>
          <p:nvSpPr>
            <p:cNvPr id="17" name="Subtitle 2">
              <a:extLst>
                <a:ext uri="{FF2B5EF4-FFF2-40B4-BE49-F238E27FC236}">
                  <a16:creationId xmlns:a16="http://schemas.microsoft.com/office/drawing/2014/main" id="{91C5FD87-F563-B959-B96A-A3A6C84F6F88}"/>
                </a:ext>
              </a:extLst>
            </p:cNvPr>
            <p:cNvSpPr txBox="1">
              <a:spLocks/>
            </p:cNvSpPr>
            <p:nvPr/>
          </p:nvSpPr>
          <p:spPr>
            <a:xfrm rot="16200000">
              <a:off x="-1155056" y="4116009"/>
              <a:ext cx="3361275" cy="24596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Αποτέλεσμα</a:t>
              </a:r>
              <a:endParaRPr lang="en-GB" sz="1600" b="1" dirty="0">
                <a:solidFill>
                  <a:srgbClr val="122E45"/>
                </a:solidFill>
                <a:latin typeface="+mn-lt"/>
                <a:ea typeface="Lato Light" panose="020F0502020204030203" pitchFamily="34" charset="0"/>
                <a:cs typeface="Mukta ExtraLight" panose="020B0000000000000000" pitchFamily="34" charset="77"/>
              </a:endParaRPr>
            </a:p>
          </p:txBody>
        </p:sp>
        <p:cxnSp>
          <p:nvCxnSpPr>
            <p:cNvPr id="18" name="Gerader Verbinder 5">
              <a:extLst>
                <a:ext uri="{FF2B5EF4-FFF2-40B4-BE49-F238E27FC236}">
                  <a16:creationId xmlns:a16="http://schemas.microsoft.com/office/drawing/2014/main" id="{F7EE45BF-1500-3557-8E1D-0E02321D3A94}"/>
                </a:ext>
              </a:extLst>
            </p:cNvPr>
            <p:cNvCxnSpPr>
              <a:cxnSpLocks/>
            </p:cNvCxnSpPr>
            <p:nvPr/>
          </p:nvCxnSpPr>
          <p:spPr>
            <a:xfrm flipV="1">
              <a:off x="669827" y="2211834"/>
              <a:ext cx="6951272" cy="3685669"/>
            </a:xfrm>
            <a:prstGeom prst="line">
              <a:avLst/>
            </a:prstGeom>
            <a:ln w="28575">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9" name="Freihandform: Form 6">
              <a:extLst>
                <a:ext uri="{FF2B5EF4-FFF2-40B4-BE49-F238E27FC236}">
                  <a16:creationId xmlns:a16="http://schemas.microsoft.com/office/drawing/2014/main" id="{686B50C2-46B2-6F22-66C1-53BB52D22C1E}"/>
                </a:ext>
              </a:extLst>
            </p:cNvPr>
            <p:cNvSpPr/>
            <p:nvPr/>
          </p:nvSpPr>
          <p:spPr>
            <a:xfrm>
              <a:off x="650118" y="2211834"/>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rgbClr val="F1692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0" name="Subtitle 2">
              <a:extLst>
                <a:ext uri="{FF2B5EF4-FFF2-40B4-BE49-F238E27FC236}">
                  <a16:creationId xmlns:a16="http://schemas.microsoft.com/office/drawing/2014/main" id="{09FB0BAE-0F4B-B64E-3067-5F26C1F5F1B4}"/>
                </a:ext>
              </a:extLst>
            </p:cNvPr>
            <p:cNvSpPr txBox="1">
              <a:spLocks/>
            </p:cNvSpPr>
            <p:nvPr/>
          </p:nvSpPr>
          <p:spPr>
            <a:xfrm>
              <a:off x="1818331" y="3978062"/>
              <a:ext cx="1807994" cy="362637"/>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Αναμενόμενη πρόοδος</a:t>
              </a:r>
            </a:p>
          </p:txBody>
        </p:sp>
        <p:sp>
          <p:nvSpPr>
            <p:cNvPr id="23" name="Subtitle 2">
              <a:extLst>
                <a:ext uri="{FF2B5EF4-FFF2-40B4-BE49-F238E27FC236}">
                  <a16:creationId xmlns:a16="http://schemas.microsoft.com/office/drawing/2014/main" id="{04A4CDF3-8C09-55A6-36DF-F7ED0D62CB34}"/>
                </a:ext>
              </a:extLst>
            </p:cNvPr>
            <p:cNvSpPr txBox="1">
              <a:spLocks/>
            </p:cNvSpPr>
            <p:nvPr/>
          </p:nvSpPr>
          <p:spPr>
            <a:xfrm>
              <a:off x="6949213" y="3989560"/>
              <a:ext cx="900268" cy="678241"/>
            </a:xfrm>
            <a:prstGeom prst="rect">
              <a:avLst/>
            </a:prstGeom>
            <a:no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Πραγματική πρόοδος</a:t>
              </a:r>
            </a:p>
          </p:txBody>
        </p:sp>
        <p:sp>
          <p:nvSpPr>
            <p:cNvPr id="24" name="Subtitle 2">
              <a:extLst>
                <a:ext uri="{FF2B5EF4-FFF2-40B4-BE49-F238E27FC236}">
                  <a16:creationId xmlns:a16="http://schemas.microsoft.com/office/drawing/2014/main" id="{D0497B14-AAB3-55E9-8AD8-3770899D0E83}"/>
                </a:ext>
              </a:extLst>
            </p:cNvPr>
            <p:cNvSpPr txBox="1">
              <a:spLocks/>
            </p:cNvSpPr>
            <p:nvPr/>
          </p:nvSpPr>
          <p:spPr>
            <a:xfrm>
              <a:off x="4092010" y="3978063"/>
              <a:ext cx="2102716" cy="1309447"/>
            </a:xfrm>
            <a:prstGeom prst="rect">
              <a:avLst/>
            </a:prstGeom>
            <a:no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2000"/>
                </a:lnSpc>
                <a:spcBef>
                  <a:spcPts val="600"/>
                </a:spcBef>
              </a:pPr>
              <a:r>
                <a:rPr lang="en-GB" sz="2000" dirty="0">
                  <a:solidFill>
                    <a:srgbClr val="595959"/>
                  </a:solidFill>
                  <a:latin typeface="+mn-lt"/>
                  <a:ea typeface="Lato Light" panose="020F0502020204030203" pitchFamily="34" charset="0"/>
                  <a:cs typeface="Mukta ExtraLight" panose="020B0000000000000000" pitchFamily="34" charset="77"/>
                </a:rPr>
                <a:t>Ο έλεγχος είναι σημαντικός για την ευθυγράμμιση των προσδοκιών με την πραγματικότητα</a:t>
              </a:r>
            </a:p>
          </p:txBody>
        </p:sp>
      </p:grpSp>
    </p:spTree>
    <p:extLst>
      <p:ext uri="{BB962C8B-B14F-4D97-AF65-F5344CB8AC3E}">
        <p14:creationId xmlns:p14="http://schemas.microsoft.com/office/powerpoint/2010/main" val="21387125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046B1680-4210-0AD3-D76D-79A564F0B15B}"/>
              </a:ext>
            </a:extLst>
          </p:cNvPr>
          <p:cNvSpPr txBox="1">
            <a:spLocks/>
          </p:cNvSpPr>
          <p:nvPr/>
        </p:nvSpPr>
        <p:spPr>
          <a:xfrm>
            <a:off x="1556575" y="2281373"/>
            <a:ext cx="4514442" cy="5056533"/>
          </a:xfrm>
          <a:prstGeom prst="rect">
            <a:avLst/>
          </a:prstGeom>
        </p:spPr>
        <p:txBody>
          <a:bodyPr vert="horz" lIns="91440" tIns="45720" rIns="91440" bIns="4572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Κοινή χρήση των εικόνων στην πρώτη θέση: "</a:t>
            </a:r>
            <a:r>
              <a:rPr lang="en-US" b="1" dirty="0">
                <a:solidFill>
                  <a:schemeClr val="bg1"/>
                </a:solidFill>
              </a:rPr>
              <a:t>Η μαγικά τετριμμένη πυραμίδα".</a:t>
            </a:r>
          </a:p>
          <a:p>
            <a:pPr marL="12700" indent="-12700"/>
            <a:endParaRPr lang="en-US" b="1" dirty="0">
              <a:solidFill>
                <a:schemeClr val="bg1"/>
              </a:solidFill>
            </a:endParaRPr>
          </a:p>
          <a:p>
            <a:pPr marL="342900" indent="-342900">
              <a:buClr>
                <a:srgbClr val="EDA13E"/>
              </a:buClr>
              <a:buFont typeface="Arial" panose="020B0604020202020204" pitchFamily="34" charset="0"/>
              <a:buChar char="•"/>
            </a:pPr>
            <a:r>
              <a:rPr lang="en-US" dirty="0">
                <a:solidFill>
                  <a:schemeClr val="bg1"/>
                </a:solidFill>
              </a:rPr>
              <a:t>Συνολική επιχειρηματική σκέψη και δράση</a:t>
            </a:r>
          </a:p>
          <a:p>
            <a:pPr marL="342900" indent="-342900">
              <a:buClr>
                <a:srgbClr val="EDA13E"/>
              </a:buClr>
              <a:buFont typeface="Arial" panose="020B0604020202020204" pitchFamily="34" charset="0"/>
              <a:buChar char="•"/>
            </a:pPr>
            <a:r>
              <a:rPr lang="en-US" dirty="0">
                <a:solidFill>
                  <a:schemeClr val="bg1"/>
                </a:solidFill>
              </a:rPr>
              <a:t>Συνεργασία</a:t>
            </a:r>
          </a:p>
          <a:p>
            <a:pPr marL="342900" indent="-342900">
              <a:buClr>
                <a:srgbClr val="EDA13E"/>
              </a:buClr>
              <a:buFont typeface="Arial" panose="020B0604020202020204" pitchFamily="34" charset="0"/>
              <a:buChar char="•"/>
            </a:pPr>
            <a:r>
              <a:rPr lang="en-US" dirty="0">
                <a:solidFill>
                  <a:schemeClr val="bg1"/>
                </a:solidFill>
              </a:rPr>
              <a:t>Επικοινωνία/πληροφόρηση: οριζόντια - κάθετη - διαγώνια</a:t>
            </a:r>
          </a:p>
          <a:p>
            <a:pPr marL="342900" indent="-342900">
              <a:buClr>
                <a:srgbClr val="EDA13E"/>
              </a:buClr>
              <a:buFont typeface="Arial" panose="020B0604020202020204" pitchFamily="34" charset="0"/>
              <a:buChar char="•"/>
            </a:pPr>
            <a:r>
              <a:rPr lang="en-US" dirty="0">
                <a:solidFill>
                  <a:schemeClr val="bg1"/>
                </a:solidFill>
              </a:rPr>
              <a:t>Ανάπτυξη των εργαζομένων</a:t>
            </a:r>
          </a:p>
          <a:p>
            <a:pPr marL="342900" indent="-342900">
              <a:buClr>
                <a:srgbClr val="EDA13E"/>
              </a:buClr>
              <a:buFont typeface="Arial" panose="020B0604020202020204" pitchFamily="34" charset="0"/>
              <a:buChar char="•"/>
            </a:pPr>
            <a:r>
              <a:rPr lang="en-US" dirty="0">
                <a:solidFill>
                  <a:schemeClr val="bg1"/>
                </a:solidFill>
              </a:rPr>
              <a:t>Ανάθεση ευθυνών και αρμοδιοτήτων</a:t>
            </a:r>
          </a:p>
          <a:p>
            <a:pPr marL="12700" indent="-12700"/>
            <a:endParaRPr lang="en-US" dirty="0">
              <a:solidFill>
                <a:schemeClr val="bg1"/>
              </a:solidFill>
            </a:endParaRPr>
          </a:p>
        </p:txBody>
      </p:sp>
      <p:sp>
        <p:nvSpPr>
          <p:cNvPr id="4" name="Rectangle 3">
            <a:extLst>
              <a:ext uri="{FF2B5EF4-FFF2-40B4-BE49-F238E27FC236}">
                <a16:creationId xmlns:a16="http://schemas.microsoft.com/office/drawing/2014/main" id="{CC45B7D4-2E3F-83EC-3AED-84EAFD560075}"/>
              </a:ext>
            </a:extLst>
          </p:cNvPr>
          <p:cNvSpPr/>
          <p:nvPr/>
        </p:nvSpPr>
        <p:spPr>
          <a:xfrm>
            <a:off x="1552894" y="190115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Placeholder 9">
            <a:extLst>
              <a:ext uri="{FF2B5EF4-FFF2-40B4-BE49-F238E27FC236}">
                <a16:creationId xmlns:a16="http://schemas.microsoft.com/office/drawing/2014/main" id="{DD768C66-47B3-9F6A-6B05-5C483BEC7EB8}"/>
              </a:ext>
            </a:extLst>
          </p:cNvPr>
          <p:cNvPicPr>
            <a:picLocks noChangeAspect="1"/>
          </p:cNvPicPr>
          <p:nvPr/>
        </p:nvPicPr>
        <p:blipFill rotWithShape="1">
          <a:blip r:embed="rId2"/>
          <a:srcRect t="11701" b="11701"/>
          <a:stretch/>
        </p:blipFill>
        <p:spPr>
          <a:xfrm>
            <a:off x="6159792" y="328647"/>
            <a:ext cx="5648906" cy="6125694"/>
          </a:xfrm>
          <a:prstGeom prst="rect">
            <a:avLst/>
          </a:prstGeom>
          <a:solidFill>
            <a:schemeClr val="bg1"/>
          </a:solidFill>
        </p:spPr>
      </p:pic>
      <p:sp>
        <p:nvSpPr>
          <p:cNvPr id="10" name="Text Placeholder 9">
            <a:extLst>
              <a:ext uri="{FF2B5EF4-FFF2-40B4-BE49-F238E27FC236}">
                <a16:creationId xmlns:a16="http://schemas.microsoft.com/office/drawing/2014/main" id="{8FEC0BF8-5D00-8C6F-85CA-BC34F4E499C4}"/>
              </a:ext>
            </a:extLst>
          </p:cNvPr>
          <p:cNvSpPr>
            <a:spLocks noGrp="1"/>
          </p:cNvSpPr>
          <p:nvPr>
            <p:ph type="body" sz="quarter" idx="16"/>
          </p:nvPr>
        </p:nvSpPr>
        <p:spPr>
          <a:xfrm>
            <a:off x="1616686" y="530975"/>
            <a:ext cx="4878216" cy="1449359"/>
          </a:xfrm>
        </p:spPr>
        <p:txBody>
          <a:bodyPr>
            <a:normAutofit/>
          </a:bodyPr>
          <a:lstStyle/>
          <a:p>
            <a:r>
              <a:rPr lang="en-US" dirty="0"/>
              <a:t>Κίνητρα σε κρίση: </a:t>
            </a:r>
            <a:endParaRPr lang="el-GR" dirty="0"/>
          </a:p>
          <a:p>
            <a:r>
              <a:rPr lang="en-US" dirty="0" err="1"/>
              <a:t>Κοινές</a:t>
            </a:r>
            <a:r>
              <a:rPr lang="en-US" dirty="0"/>
              <a:t> εικόνες</a:t>
            </a:r>
          </a:p>
          <a:p>
            <a:endParaRPr lang="en-US" dirty="0"/>
          </a:p>
        </p:txBody>
      </p:sp>
    </p:spTree>
    <p:extLst>
      <p:ext uri="{BB962C8B-B14F-4D97-AF65-F5344CB8AC3E}">
        <p14:creationId xmlns:p14="http://schemas.microsoft.com/office/powerpoint/2010/main" val="665081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1E04F49-6384-15AB-22BB-266E2249B24B}"/>
              </a:ext>
            </a:extLst>
          </p:cNvPr>
          <p:cNvSpPr/>
          <p:nvPr/>
        </p:nvSpPr>
        <p:spPr>
          <a:xfrm>
            <a:off x="0" y="119466"/>
            <a:ext cx="12192000" cy="91474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DCF0AFD1-78E0-6CC3-9E16-B88F885B95E2}"/>
              </a:ext>
            </a:extLst>
          </p:cNvPr>
          <p:cNvSpPr>
            <a:spLocks noGrp="1"/>
          </p:cNvSpPr>
          <p:nvPr>
            <p:ph type="body" sz="quarter" idx="16"/>
          </p:nvPr>
        </p:nvSpPr>
        <p:spPr>
          <a:xfrm>
            <a:off x="529759" y="328024"/>
            <a:ext cx="11073661" cy="582221"/>
          </a:xfrm>
        </p:spPr>
        <p:txBody>
          <a:bodyPr>
            <a:normAutofit lnSpcReduction="10000"/>
          </a:bodyPr>
          <a:lstStyle/>
          <a:p>
            <a:r>
              <a:rPr lang="en-US" dirty="0">
                <a:solidFill>
                  <a:schemeClr val="bg1"/>
                </a:solidFill>
              </a:rPr>
              <a:t>Κίνητρα σε κρίση: Κοινές εικόνες</a:t>
            </a:r>
          </a:p>
        </p:txBody>
      </p:sp>
      <p:grpSp>
        <p:nvGrpSpPr>
          <p:cNvPr id="2" name="Gruppieren 13">
            <a:extLst>
              <a:ext uri="{FF2B5EF4-FFF2-40B4-BE49-F238E27FC236}">
                <a16:creationId xmlns:a16="http://schemas.microsoft.com/office/drawing/2014/main" id="{08B63969-809F-5DA1-7205-7702A5AC325F}"/>
              </a:ext>
            </a:extLst>
          </p:cNvPr>
          <p:cNvGrpSpPr/>
          <p:nvPr/>
        </p:nvGrpSpPr>
        <p:grpSpPr>
          <a:xfrm>
            <a:off x="4954709" y="2397306"/>
            <a:ext cx="7074636" cy="3563909"/>
            <a:chOff x="5030350" y="2620935"/>
            <a:chExt cx="5413720" cy="2727208"/>
          </a:xfrm>
        </p:grpSpPr>
        <p:sp>
          <p:nvSpPr>
            <p:cNvPr id="3" name="Subtitle 2">
              <a:extLst>
                <a:ext uri="{FF2B5EF4-FFF2-40B4-BE49-F238E27FC236}">
                  <a16:creationId xmlns:a16="http://schemas.microsoft.com/office/drawing/2014/main" id="{855D99BD-FED0-9E4A-D241-961AA99329C5}"/>
                </a:ext>
              </a:extLst>
            </p:cNvPr>
            <p:cNvSpPr txBox="1">
              <a:spLocks/>
            </p:cNvSpPr>
            <p:nvPr/>
          </p:nvSpPr>
          <p:spPr>
            <a:xfrm>
              <a:off x="8609503" y="4367678"/>
              <a:ext cx="183456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7F1C58"/>
                  </a:solidFill>
                  <a:latin typeface="+mn-lt"/>
                  <a:ea typeface="Lato Light" panose="020F0502020204030203" pitchFamily="34" charset="0"/>
                  <a:cs typeface="Mukta ExtraLight" panose="020B0000000000000000" pitchFamily="34" charset="77"/>
                </a:rPr>
                <a:t>Μέση Διοίκηση</a:t>
              </a:r>
            </a:p>
          </p:txBody>
        </p:sp>
        <p:sp>
          <p:nvSpPr>
            <p:cNvPr id="5" name="Subtitle 2">
              <a:extLst>
                <a:ext uri="{FF2B5EF4-FFF2-40B4-BE49-F238E27FC236}">
                  <a16:creationId xmlns:a16="http://schemas.microsoft.com/office/drawing/2014/main" id="{CE6264FF-436C-73B0-C4C0-5FEF011740A3}"/>
                </a:ext>
              </a:extLst>
            </p:cNvPr>
            <p:cNvSpPr txBox="1">
              <a:spLocks/>
            </p:cNvSpPr>
            <p:nvPr/>
          </p:nvSpPr>
          <p:spPr>
            <a:xfrm>
              <a:off x="9115107" y="5086121"/>
              <a:ext cx="1267097"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122E45"/>
                  </a:solidFill>
                  <a:latin typeface="+mn-lt"/>
                  <a:ea typeface="Lato Light" panose="020F0502020204030203" pitchFamily="34" charset="0"/>
                  <a:cs typeface="Mukta ExtraLight" panose="020B0000000000000000" pitchFamily="34" charset="77"/>
                </a:rPr>
                <a:t>Εργαζόμενοι</a:t>
              </a:r>
            </a:p>
          </p:txBody>
        </p:sp>
        <p:grpSp>
          <p:nvGrpSpPr>
            <p:cNvPr id="10" name="Gruppieren 12">
              <a:extLst>
                <a:ext uri="{FF2B5EF4-FFF2-40B4-BE49-F238E27FC236}">
                  <a16:creationId xmlns:a16="http://schemas.microsoft.com/office/drawing/2014/main" id="{115E5A51-6DD6-D758-17E3-2C6C7405CD9C}"/>
                </a:ext>
              </a:extLst>
            </p:cNvPr>
            <p:cNvGrpSpPr/>
            <p:nvPr/>
          </p:nvGrpSpPr>
          <p:grpSpPr>
            <a:xfrm>
              <a:off x="5030350" y="2620935"/>
              <a:ext cx="5093095" cy="2700336"/>
              <a:chOff x="5030350" y="2620935"/>
              <a:chExt cx="5093095" cy="2700336"/>
            </a:xfrm>
          </p:grpSpPr>
          <p:sp>
            <p:nvSpPr>
              <p:cNvPr id="11" name="L-Form 3">
                <a:extLst>
                  <a:ext uri="{FF2B5EF4-FFF2-40B4-BE49-F238E27FC236}">
                    <a16:creationId xmlns:a16="http://schemas.microsoft.com/office/drawing/2014/main" id="{6008BFDE-7748-9931-4967-A6C0EA7468F2}"/>
                  </a:ext>
                </a:extLst>
              </p:cNvPr>
              <p:cNvSpPr/>
              <p:nvPr/>
            </p:nvSpPr>
            <p:spPr>
              <a:xfrm rot="8106606">
                <a:off x="6693786" y="2620935"/>
                <a:ext cx="705394" cy="697353"/>
              </a:xfrm>
              <a:prstGeom prst="corner">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Gleichschenkliges Dreieck 4">
                <a:extLst>
                  <a:ext uri="{FF2B5EF4-FFF2-40B4-BE49-F238E27FC236}">
                    <a16:creationId xmlns:a16="http://schemas.microsoft.com/office/drawing/2014/main" id="{A89EB561-935F-B724-5EC7-3403C4F39CAF}"/>
                  </a:ext>
                </a:extLst>
              </p:cNvPr>
              <p:cNvSpPr/>
              <p:nvPr/>
            </p:nvSpPr>
            <p:spPr>
              <a:xfrm>
                <a:off x="5151441" y="3071271"/>
                <a:ext cx="3790083" cy="2160000"/>
              </a:xfrm>
              <a:prstGeom prst="triangle">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Gleichschenkliges Dreieck 23">
                <a:extLst>
                  <a:ext uri="{FF2B5EF4-FFF2-40B4-BE49-F238E27FC236}">
                    <a16:creationId xmlns:a16="http://schemas.microsoft.com/office/drawing/2014/main" id="{47A6BBA5-76A7-382D-C21A-4885F24D5404}"/>
                  </a:ext>
                </a:extLst>
              </p:cNvPr>
              <p:cNvSpPr/>
              <p:nvPr/>
            </p:nvSpPr>
            <p:spPr>
              <a:xfrm>
                <a:off x="6418538" y="307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Gleichschenkliges Dreieck 24">
                <a:extLst>
                  <a:ext uri="{FF2B5EF4-FFF2-40B4-BE49-F238E27FC236}">
                    <a16:creationId xmlns:a16="http://schemas.microsoft.com/office/drawing/2014/main" id="{8CAF03F2-6C5D-2AE1-81B0-612E31363172}"/>
                  </a:ext>
                </a:extLst>
              </p:cNvPr>
              <p:cNvSpPr/>
              <p:nvPr/>
            </p:nvSpPr>
            <p:spPr>
              <a:xfrm>
                <a:off x="7046483"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Gleichschenkliges Dreieck 25">
                <a:extLst>
                  <a:ext uri="{FF2B5EF4-FFF2-40B4-BE49-F238E27FC236}">
                    <a16:creationId xmlns:a16="http://schemas.microsoft.com/office/drawing/2014/main" id="{EBC71513-5BFB-BD98-C0CC-D37E92924E49}"/>
                  </a:ext>
                </a:extLst>
              </p:cNvPr>
              <p:cNvSpPr/>
              <p:nvPr/>
            </p:nvSpPr>
            <p:spPr>
              <a:xfrm>
                <a:off x="7674427"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Gleichschenkliges Dreieck 26">
                <a:extLst>
                  <a:ext uri="{FF2B5EF4-FFF2-40B4-BE49-F238E27FC236}">
                    <a16:creationId xmlns:a16="http://schemas.microsoft.com/office/drawing/2014/main" id="{E4AA3256-681C-8234-E14D-211A6CB9DE69}"/>
                  </a:ext>
                </a:extLst>
              </p:cNvPr>
              <p:cNvSpPr/>
              <p:nvPr/>
            </p:nvSpPr>
            <p:spPr>
              <a:xfrm>
                <a:off x="5151441" y="451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Gleichschenkliges Dreieck 27">
                <a:extLst>
                  <a:ext uri="{FF2B5EF4-FFF2-40B4-BE49-F238E27FC236}">
                    <a16:creationId xmlns:a16="http://schemas.microsoft.com/office/drawing/2014/main" id="{BAEC4BAC-E9F8-7E43-CB1B-21DDC16062D5}"/>
                  </a:ext>
                </a:extLst>
              </p:cNvPr>
              <p:cNvSpPr/>
              <p:nvPr/>
            </p:nvSpPr>
            <p:spPr>
              <a:xfrm>
                <a:off x="5784989" y="3791271"/>
                <a:ext cx="1267097" cy="720000"/>
              </a:xfrm>
              <a:prstGeom prst="triangl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Subtitle 2">
                <a:extLst>
                  <a:ext uri="{FF2B5EF4-FFF2-40B4-BE49-F238E27FC236}">
                    <a16:creationId xmlns:a16="http://schemas.microsoft.com/office/drawing/2014/main" id="{0BD824E7-C73C-E462-7765-C17F8FEC79D9}"/>
                  </a:ext>
                </a:extLst>
              </p:cNvPr>
              <p:cNvSpPr txBox="1">
                <a:spLocks/>
              </p:cNvSpPr>
              <p:nvPr/>
            </p:nvSpPr>
            <p:spPr>
              <a:xfrm>
                <a:off x="7930742" y="3650844"/>
                <a:ext cx="2192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B41F7A"/>
                    </a:solidFill>
                    <a:latin typeface="+mn-lt"/>
                    <a:ea typeface="Lato Light" panose="020F0502020204030203" pitchFamily="34" charset="0"/>
                    <a:cs typeface="Mukta ExtraLight" panose="020B0000000000000000" pitchFamily="34" charset="77"/>
                  </a:rPr>
                  <a:t>Διαχείριση TOP</a:t>
                </a:r>
              </a:p>
            </p:txBody>
          </p:sp>
          <p:sp>
            <p:nvSpPr>
              <p:cNvPr id="57" name="Subtitle 2">
                <a:extLst>
                  <a:ext uri="{FF2B5EF4-FFF2-40B4-BE49-F238E27FC236}">
                    <a16:creationId xmlns:a16="http://schemas.microsoft.com/office/drawing/2014/main" id="{C2944B2B-EBAC-A09D-F775-EDD5B53F7995}"/>
                  </a:ext>
                </a:extLst>
              </p:cNvPr>
              <p:cNvSpPr txBox="1">
                <a:spLocks/>
              </p:cNvSpPr>
              <p:nvPr/>
            </p:nvSpPr>
            <p:spPr>
              <a:xfrm>
                <a:off x="7674427" y="2632044"/>
                <a:ext cx="2273703" cy="2620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F16924"/>
                    </a:solidFill>
                    <a:latin typeface="+mn-lt"/>
                    <a:ea typeface="Lato Light" panose="020F0502020204030203" pitchFamily="34" charset="0"/>
                    <a:cs typeface="Mukta ExtraLight" panose="020B0000000000000000" pitchFamily="34" charset="77"/>
                  </a:rPr>
                  <a:t>Διευθύνων Σύμβουλος / Ιδιοκτήτης</a:t>
                </a:r>
              </a:p>
            </p:txBody>
          </p:sp>
          <p:sp>
            <p:nvSpPr>
              <p:cNvPr id="58" name="Ellipse 10">
                <a:extLst>
                  <a:ext uri="{FF2B5EF4-FFF2-40B4-BE49-F238E27FC236}">
                    <a16:creationId xmlns:a16="http://schemas.microsoft.com/office/drawing/2014/main" id="{A53E2E12-D62D-D902-491F-8752FDA5D29F}"/>
                  </a:ext>
                </a:extLst>
              </p:cNvPr>
              <p:cNvSpPr/>
              <p:nvPr/>
            </p:nvSpPr>
            <p:spPr>
              <a:xfrm>
                <a:off x="6244955"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a:t>
                </a:r>
                <a:endParaRPr lang="en-GB" dirty="0"/>
              </a:p>
            </p:txBody>
          </p:sp>
          <p:sp>
            <p:nvSpPr>
              <p:cNvPr id="59" name="Ellipse 33">
                <a:extLst>
                  <a:ext uri="{FF2B5EF4-FFF2-40B4-BE49-F238E27FC236}">
                    <a16:creationId xmlns:a16="http://schemas.microsoft.com/office/drawing/2014/main" id="{23B40869-0659-4FB2-E970-427930F284FD}"/>
                  </a:ext>
                </a:extLst>
              </p:cNvPr>
              <p:cNvSpPr/>
              <p:nvPr/>
            </p:nvSpPr>
            <p:spPr>
              <a:xfrm>
                <a:off x="7494111" y="3615447"/>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C</a:t>
                </a:r>
              </a:p>
            </p:txBody>
          </p:sp>
          <p:sp>
            <p:nvSpPr>
              <p:cNvPr id="60" name="Ellipse 34">
                <a:extLst>
                  <a:ext uri="{FF2B5EF4-FFF2-40B4-BE49-F238E27FC236}">
                    <a16:creationId xmlns:a16="http://schemas.microsoft.com/office/drawing/2014/main" id="{0358813E-3F8C-63EF-439C-A12A43080C9E}"/>
                  </a:ext>
                </a:extLst>
              </p:cNvPr>
              <p:cNvSpPr/>
              <p:nvPr/>
            </p:nvSpPr>
            <p:spPr>
              <a:xfrm>
                <a:off x="6864649" y="3611271"/>
                <a:ext cx="360632" cy="360000"/>
              </a:xfrm>
              <a:prstGeom prst="ellipse">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B</a:t>
                </a:r>
                <a:endParaRPr lang="en-GB" dirty="0"/>
              </a:p>
            </p:txBody>
          </p:sp>
          <p:sp>
            <p:nvSpPr>
              <p:cNvPr id="61" name="Ellipse 35">
                <a:extLst>
                  <a:ext uri="{FF2B5EF4-FFF2-40B4-BE49-F238E27FC236}">
                    <a16:creationId xmlns:a16="http://schemas.microsoft.com/office/drawing/2014/main" id="{B5EA6DFE-CA57-14FB-E684-FADD97C6FB53}"/>
                  </a:ext>
                </a:extLst>
              </p:cNvPr>
              <p:cNvSpPr/>
              <p:nvPr/>
            </p:nvSpPr>
            <p:spPr>
              <a:xfrm>
                <a:off x="5658989"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Ellipse 36">
                <a:extLst>
                  <a:ext uri="{FF2B5EF4-FFF2-40B4-BE49-F238E27FC236}">
                    <a16:creationId xmlns:a16="http://schemas.microsoft.com/office/drawing/2014/main" id="{3771D5DE-1D13-1D5F-C12C-09707753A840}"/>
                  </a:ext>
                </a:extLst>
              </p:cNvPr>
              <p:cNvSpPr/>
              <p:nvPr/>
            </p:nvSpPr>
            <p:spPr>
              <a:xfrm>
                <a:off x="6926086" y="438887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3" name="Ellipse 37">
                <a:extLst>
                  <a:ext uri="{FF2B5EF4-FFF2-40B4-BE49-F238E27FC236}">
                    <a16:creationId xmlns:a16="http://schemas.microsoft.com/office/drawing/2014/main" id="{AD081855-764B-412C-37FE-88D0D6533DBE}"/>
                  </a:ext>
                </a:extLst>
              </p:cNvPr>
              <p:cNvSpPr/>
              <p:nvPr/>
            </p:nvSpPr>
            <p:spPr>
              <a:xfrm>
                <a:off x="8161817"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Ellipse 42">
                <a:extLst>
                  <a:ext uri="{FF2B5EF4-FFF2-40B4-BE49-F238E27FC236}">
                    <a16:creationId xmlns:a16="http://schemas.microsoft.com/office/drawing/2014/main" id="{865D239F-D518-D0E3-04DA-2261DC9F0508}"/>
                  </a:ext>
                </a:extLst>
              </p:cNvPr>
              <p:cNvSpPr/>
              <p:nvPr/>
            </p:nvSpPr>
            <p:spPr>
              <a:xfrm>
                <a:off x="7548427" y="4396131"/>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Ellipse 43">
                <a:extLst>
                  <a:ext uri="{FF2B5EF4-FFF2-40B4-BE49-F238E27FC236}">
                    <a16:creationId xmlns:a16="http://schemas.microsoft.com/office/drawing/2014/main" id="{89FBF1E2-E869-558B-C208-FFF8A6E166A8}"/>
                  </a:ext>
                </a:extLst>
              </p:cNvPr>
              <p:cNvSpPr/>
              <p:nvPr/>
            </p:nvSpPr>
            <p:spPr>
              <a:xfrm>
                <a:off x="6281330" y="4401744"/>
                <a:ext cx="252000" cy="252000"/>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6" name="Ellipse 44">
                <a:extLst>
                  <a:ext uri="{FF2B5EF4-FFF2-40B4-BE49-F238E27FC236}">
                    <a16:creationId xmlns:a16="http://schemas.microsoft.com/office/drawing/2014/main" id="{E30ADBE0-98BC-AE21-3417-A8E5C2C290AC}"/>
                  </a:ext>
                </a:extLst>
              </p:cNvPr>
              <p:cNvSpPr/>
              <p:nvPr/>
            </p:nvSpPr>
            <p:spPr>
              <a:xfrm>
                <a:off x="5030350"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7" name="Ellipse 48">
                <a:extLst>
                  <a:ext uri="{FF2B5EF4-FFF2-40B4-BE49-F238E27FC236}">
                    <a16:creationId xmlns:a16="http://schemas.microsoft.com/office/drawing/2014/main" id="{93FBAC20-08C4-784D-108F-CFCE75F773A8}"/>
                  </a:ext>
                </a:extLst>
              </p:cNvPr>
              <p:cNvSpPr/>
              <p:nvPr/>
            </p:nvSpPr>
            <p:spPr>
              <a:xfrm>
                <a:off x="63037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8" name="Ellipse 49">
                <a:extLst>
                  <a:ext uri="{FF2B5EF4-FFF2-40B4-BE49-F238E27FC236}">
                    <a16:creationId xmlns:a16="http://schemas.microsoft.com/office/drawing/2014/main" id="{75F0FAD8-097D-2FE3-9401-34790598C7C6}"/>
                  </a:ext>
                </a:extLst>
              </p:cNvPr>
              <p:cNvSpPr/>
              <p:nvPr/>
            </p:nvSpPr>
            <p:spPr>
              <a:xfrm>
                <a:off x="5694989"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9" name="Ellipse 50">
                <a:extLst>
                  <a:ext uri="{FF2B5EF4-FFF2-40B4-BE49-F238E27FC236}">
                    <a16:creationId xmlns:a16="http://schemas.microsoft.com/office/drawing/2014/main" id="{893FDBC2-A113-013D-9CEE-AAF1E50FE12C}"/>
                  </a:ext>
                </a:extLst>
              </p:cNvPr>
              <p:cNvSpPr/>
              <p:nvPr/>
            </p:nvSpPr>
            <p:spPr>
              <a:xfrm>
                <a:off x="536198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Ellipse 51">
                <a:extLst>
                  <a:ext uri="{FF2B5EF4-FFF2-40B4-BE49-F238E27FC236}">
                    <a16:creationId xmlns:a16="http://schemas.microsoft.com/office/drawing/2014/main" id="{0DD32ACF-1FE5-6481-4559-A5F45992A23B}"/>
                  </a:ext>
                </a:extLst>
              </p:cNvPr>
              <p:cNvSpPr/>
              <p:nvPr/>
            </p:nvSpPr>
            <p:spPr>
              <a:xfrm>
                <a:off x="6002853" y="5141271"/>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1" name="Ellipse 52">
                <a:extLst>
                  <a:ext uri="{FF2B5EF4-FFF2-40B4-BE49-F238E27FC236}">
                    <a16:creationId xmlns:a16="http://schemas.microsoft.com/office/drawing/2014/main" id="{B094FEBD-6FA9-9F9C-5DAE-8089EF82936C}"/>
                  </a:ext>
                </a:extLst>
              </p:cNvPr>
              <p:cNvSpPr/>
              <p:nvPr/>
            </p:nvSpPr>
            <p:spPr>
              <a:xfrm>
                <a:off x="7547000"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2" name="Ellipse 53">
                <a:extLst>
                  <a:ext uri="{FF2B5EF4-FFF2-40B4-BE49-F238E27FC236}">
                    <a16:creationId xmlns:a16="http://schemas.microsoft.com/office/drawing/2014/main" id="{6FD835B0-E426-4FBB-BB7E-E38EDCFF81F4}"/>
                  </a:ext>
                </a:extLst>
              </p:cNvPr>
              <p:cNvSpPr/>
              <p:nvPr/>
            </p:nvSpPr>
            <p:spPr>
              <a:xfrm>
                <a:off x="8820353"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3" name="Ellipse 54">
                <a:extLst>
                  <a:ext uri="{FF2B5EF4-FFF2-40B4-BE49-F238E27FC236}">
                    <a16:creationId xmlns:a16="http://schemas.microsoft.com/office/drawing/2014/main" id="{4085D896-23C4-01CC-A3D0-638C6638F8F1}"/>
                  </a:ext>
                </a:extLst>
              </p:cNvPr>
              <p:cNvSpPr/>
              <p:nvPr/>
            </p:nvSpPr>
            <p:spPr>
              <a:xfrm>
                <a:off x="8211639"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4" name="Ellipse 55">
                <a:extLst>
                  <a:ext uri="{FF2B5EF4-FFF2-40B4-BE49-F238E27FC236}">
                    <a16:creationId xmlns:a16="http://schemas.microsoft.com/office/drawing/2014/main" id="{29F5ED42-7411-D3BB-8765-1373D436F742}"/>
                  </a:ext>
                </a:extLst>
              </p:cNvPr>
              <p:cNvSpPr/>
              <p:nvPr/>
            </p:nvSpPr>
            <p:spPr>
              <a:xfrm>
                <a:off x="7878639" y="5131825"/>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5" name="Ellipse 56">
                <a:extLst>
                  <a:ext uri="{FF2B5EF4-FFF2-40B4-BE49-F238E27FC236}">
                    <a16:creationId xmlns:a16="http://schemas.microsoft.com/office/drawing/2014/main" id="{06EDF42D-1DE6-C667-3060-2392AA25B561}"/>
                  </a:ext>
                </a:extLst>
              </p:cNvPr>
              <p:cNvSpPr/>
              <p:nvPr/>
            </p:nvSpPr>
            <p:spPr>
              <a:xfrm>
                <a:off x="8519503" y="5136548"/>
                <a:ext cx="180000" cy="180000"/>
              </a:xfrm>
              <a:prstGeom prst="ellipse">
                <a:avLst/>
              </a:prstGeom>
              <a:solidFill>
                <a:srgbClr val="122E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76" name="Rechteck 11">
            <a:extLst>
              <a:ext uri="{FF2B5EF4-FFF2-40B4-BE49-F238E27FC236}">
                <a16:creationId xmlns:a16="http://schemas.microsoft.com/office/drawing/2014/main" id="{11A4C1FA-E75E-978E-BBF3-68AB36C387AE}"/>
              </a:ext>
            </a:extLst>
          </p:cNvPr>
          <p:cNvSpPr/>
          <p:nvPr/>
        </p:nvSpPr>
        <p:spPr>
          <a:xfrm>
            <a:off x="632232" y="1450564"/>
            <a:ext cx="5059421" cy="3160545"/>
          </a:xfrm>
          <a:prstGeom prst="rect">
            <a:avLst/>
          </a:prstGeom>
        </p:spPr>
        <p:txBody>
          <a:bodyPr wrap="square">
            <a:spAutoFit/>
          </a:bodyPr>
          <a:lstStyle/>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Η συλλογικότητα πριν από το άτομο</a:t>
            </a:r>
          </a:p>
          <a:p>
            <a:pPr marL="177800" indent="-17780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Η επικοινωνία και οι εικόνες διαχέονται σε όλα τα επίπεδα διαχείρισης</a:t>
            </a:r>
          </a:p>
          <a:p>
            <a:pPr marL="177800" indent="-177800">
              <a:spcBef>
                <a:spcPts val="600"/>
              </a:spcBef>
              <a:buClr>
                <a:srgbClr val="F16924"/>
              </a:buClr>
              <a:buFont typeface="Arial" panose="020B0604020202020204" pitchFamily="34" charset="0"/>
              <a:buChar char="•"/>
            </a:pPr>
            <a:endParaRPr lang="en-GB" altLang="de-DE" sz="800" dirty="0">
              <a:solidFill>
                <a:srgbClr val="595959"/>
              </a:solidFill>
            </a:endParaRPr>
          </a:p>
          <a:p>
            <a:pPr marL="177800" indent="-177800">
              <a:lnSpc>
                <a:spcPts val="2260"/>
              </a:lnSpc>
              <a:spcBef>
                <a:spcPts val="600"/>
              </a:spcBef>
              <a:buClr>
                <a:srgbClr val="F16924"/>
              </a:buClr>
              <a:buFont typeface="Arial" panose="020B0604020202020204" pitchFamily="34" charset="0"/>
              <a:buChar char="•"/>
            </a:pPr>
            <a:r>
              <a:rPr lang="en-GB" altLang="de-DE" sz="2200" dirty="0">
                <a:solidFill>
                  <a:srgbClr val="595959"/>
                </a:solidFill>
              </a:rPr>
              <a:t>Κάθε Διαχειριστής παίζει σημαντικό ρόλο στη μεταφορά συνεπών εικόνων</a:t>
            </a:r>
            <a:br>
              <a:rPr lang="en-GB" altLang="de-DE" sz="2200" dirty="0">
                <a:solidFill>
                  <a:srgbClr val="595959"/>
                </a:solidFill>
              </a:rPr>
            </a:br>
            <a:r>
              <a:rPr lang="en-GB" altLang="de-DE" sz="2200" dirty="0">
                <a:solidFill>
                  <a:srgbClr val="595959"/>
                </a:solidFill>
              </a:rPr>
              <a:t>- Σκοπός, στόχοι, σκοποί, τρόποι, αξίες</a:t>
            </a:r>
          </a:p>
          <a:p>
            <a:pPr marL="177800" indent="-177800">
              <a:lnSpc>
                <a:spcPts val="2260"/>
              </a:lnSpc>
              <a:spcBef>
                <a:spcPts val="600"/>
              </a:spcBef>
              <a:buClr>
                <a:srgbClr val="F16924"/>
              </a:buClr>
            </a:pPr>
            <a:r>
              <a:rPr lang="en-GB" altLang="de-DE" sz="2200" dirty="0">
                <a:solidFill>
                  <a:srgbClr val="595959"/>
                </a:solidFill>
              </a:rPr>
              <a:t>	- Ρόλος και συμβολή των διευθυντών</a:t>
            </a:r>
          </a:p>
          <a:p>
            <a:pPr marL="177800" indent="-177800">
              <a:lnSpc>
                <a:spcPts val="2260"/>
              </a:lnSpc>
              <a:spcBef>
                <a:spcPts val="600"/>
              </a:spcBef>
              <a:buClr>
                <a:srgbClr val="F16924"/>
              </a:buClr>
            </a:pPr>
            <a:r>
              <a:rPr lang="en-GB" altLang="de-DE" sz="2200" dirty="0">
                <a:solidFill>
                  <a:srgbClr val="595959"/>
                </a:solidFill>
              </a:rPr>
              <a:t>	- Διαδικασία ανάπτυξης της εταιρείας</a:t>
            </a:r>
          </a:p>
        </p:txBody>
      </p:sp>
    </p:spTree>
    <p:extLst>
      <p:ext uri="{BB962C8B-B14F-4D97-AF65-F5344CB8AC3E}">
        <p14:creationId xmlns:p14="http://schemas.microsoft.com/office/powerpoint/2010/main" val="148429589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33">
            <a:extLst>
              <a:ext uri="{FF2B5EF4-FFF2-40B4-BE49-F238E27FC236}">
                <a16:creationId xmlns:a16="http://schemas.microsoft.com/office/drawing/2014/main" id="{BAE7D363-F4C4-37A2-8C66-8AC26CA755A5}"/>
              </a:ext>
            </a:extLst>
          </p:cNvPr>
          <p:cNvSpPr/>
          <p:nvPr/>
        </p:nvSpPr>
        <p:spPr>
          <a:xfrm>
            <a:off x="3522969" y="4535177"/>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903897" y="2337616"/>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522969" y="1672089"/>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080199" y="4931062"/>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544824" y="684576"/>
            <a:ext cx="5325446"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Προετοιμασία </a:t>
            </a:r>
          </a:p>
          <a:p>
            <a:pPr algn="l">
              <a:lnSpc>
                <a:spcPts val="1980"/>
              </a:lnSpc>
              <a:spcBef>
                <a:spcPts val="0"/>
              </a:spcBef>
            </a:pPr>
            <a:r>
              <a:rPr lang="en-US" sz="1900" dirty="0">
                <a:solidFill>
                  <a:srgbClr val="616161"/>
                </a:solidFill>
              </a:rPr>
              <a:t>Η προετοιμασία σχεδίων κρίσης, μηνυμάτων κ.λπ. είναι ο πρώτος τρόπος για να διασφαλίσετε ότι είστε έτοιμοι να αντιδράσετε σε μια κρίση, ενώ οι άλλοι στέκονται ακόμη στις πύλες.</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766823" y="2151505"/>
            <a:ext cx="3984914" cy="1157102"/>
          </a:xfrm>
        </p:spPr>
        <p:txBody>
          <a:bodyPr>
            <a:noAutofit/>
          </a:bodyPr>
          <a:lstStyle/>
          <a:p>
            <a:pPr>
              <a:lnSpc>
                <a:spcPts val="2280"/>
              </a:lnSpc>
              <a:spcBef>
                <a:spcPts val="0"/>
              </a:spcBef>
            </a:pPr>
            <a:r>
              <a:rPr lang="en-US" sz="1800" b="1" dirty="0">
                <a:solidFill>
                  <a:srgbClr val="F16924"/>
                </a:solidFill>
              </a:rPr>
              <a:t>Επικοινωνία: </a:t>
            </a:r>
          </a:p>
          <a:p>
            <a:pPr>
              <a:lnSpc>
                <a:spcPts val="1980"/>
              </a:lnSpc>
              <a:spcBef>
                <a:spcPts val="0"/>
              </a:spcBef>
            </a:pPr>
            <a:r>
              <a:rPr lang="en-US" sz="1600" dirty="0"/>
              <a:t>Διαθέστε μια ηλεκτρονική αίθουσα σύνταξης σε μια πολύ εμφανή τοποθεσία. Γεμίστε το με τις πιο πρόσφατες πληροφορίες σχετικά με τον </a:t>
            </a:r>
            <a:r>
              <a:rPr lang="en-US" sz="1600" dirty="0" err="1"/>
              <a:t>οργανισμό </a:t>
            </a:r>
            <a:r>
              <a:rPr lang="en-US" sz="1600" dirty="0"/>
              <a:t>σας και την τρέχουσα κρίση, έτσι ώστε τα μέσα ενημέρωσης ή οι ενδιαφερόμενοι φορείς που αναζητούν τις τελευταίες πληροφορίες απευθείας από την πηγή να είναι σε θέση να τις βρουν. Επιπλέον, να είστε άμεσα διαθέσιμοι τόσο στους ενδιαφερόμενους όσο και στα μέσα μαζικής ενημέρωσης.</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683609" y="5046142"/>
            <a:ext cx="5325446"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1800" b="1" dirty="0">
                <a:solidFill>
                  <a:srgbClr val="B41F7A"/>
                </a:solidFill>
              </a:rPr>
              <a:t>Σχέσεις: </a:t>
            </a:r>
          </a:p>
          <a:p>
            <a:pPr algn="l">
              <a:lnSpc>
                <a:spcPts val="1980"/>
              </a:lnSpc>
              <a:spcBef>
                <a:spcPts val="0"/>
              </a:spcBef>
            </a:pPr>
            <a:r>
              <a:rPr lang="en-US" sz="1600" dirty="0">
                <a:solidFill>
                  <a:srgbClr val="616161"/>
                </a:solidFill>
              </a:rPr>
              <a:t>Η άνοδος του ηλεκτρονικού ρεπορτάζ μέσω των μέσων κοινωνικής δικτύωσης έχει καταστήσει ακόμη πιο σημαντικό να οικοδομήσετε ισχυρές σχέσεις με τους ανθρώπους που καλύπτουν τον κλάδο σας, είτε πρόκειται για διαπιστευμένο δημοσιογράφο είτε για απλό blogger.</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652649" y="4927601"/>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452694" y="1470253"/>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439727" y="3504803"/>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941333" y="617090"/>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133471" y="2786512"/>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344334" y="927411"/>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6529011" y="3096611"/>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394397" y="5335633"/>
            <a:ext cx="730034" cy="730950"/>
            <a:chOff x="6601914" y="3685068"/>
            <a:chExt cx="1090935"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601914" y="3685068"/>
              <a:ext cx="1090935" cy="1092304"/>
              <a:chOff x="6601914" y="3685068"/>
              <a:chExt cx="1090935"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601914" y="3685068"/>
                <a:ext cx="1090935" cy="1092304"/>
                <a:chOff x="6601914" y="3685068"/>
                <a:chExt cx="1090935"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332" name="Rectangle 331">
            <a:extLst>
              <a:ext uri="{FF2B5EF4-FFF2-40B4-BE49-F238E27FC236}">
                <a16:creationId xmlns:a16="http://schemas.microsoft.com/office/drawing/2014/main" id="{4AD1CC34-EF04-776A-97D1-6B2C495C81FB}"/>
              </a:ext>
            </a:extLst>
          </p:cNvPr>
          <p:cNvSpPr/>
          <p:nvPr/>
        </p:nvSpPr>
        <p:spPr>
          <a:xfrm>
            <a:off x="1" y="0"/>
            <a:ext cx="4192538"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536404" y="430173"/>
            <a:ext cx="3240426" cy="60677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Έλεγχος της αφήγησης</a:t>
            </a:r>
          </a:p>
          <a:p>
            <a:endParaRPr lang="en-US" dirty="0">
              <a:solidFill>
                <a:schemeClr val="bg1"/>
              </a:solidFill>
            </a:endParaRPr>
          </a:p>
          <a:p>
            <a:pPr>
              <a:lnSpc>
                <a:spcPts val="2240"/>
              </a:lnSpc>
              <a:spcBef>
                <a:spcPts val="0"/>
              </a:spcBef>
            </a:pPr>
            <a:r>
              <a:rPr lang="en-US" sz="2000" dirty="0">
                <a:solidFill>
                  <a:schemeClr val="bg1"/>
                </a:solidFill>
              </a:rPr>
              <a:t>Ένα τεράστιο μέρος της επιτυχημένης διαχείρισης κρίσεων είναι η ευκαιρία να πείτε τη δική σας ιστορία. Ο κύριος λόγος είναι ότι θα ειπωθεί έτσι κι αλλιώς, και αν παραμείνετε σιωπηλοί, τα μέρη που μπορεί να μην έχουν κατά νου το συμφέρον της εταιρείας σας μπορεί να είναι εκείνα που θα πουν την ιστορία. </a:t>
            </a:r>
          </a:p>
          <a:p>
            <a:pPr>
              <a:lnSpc>
                <a:spcPts val="2240"/>
              </a:lnSpc>
              <a:spcBef>
                <a:spcPts val="0"/>
              </a:spcBef>
            </a:pPr>
            <a:r>
              <a:rPr lang="en-US" sz="2000" dirty="0">
                <a:solidFill>
                  <a:schemeClr val="bg1"/>
                </a:solidFill>
              </a:rPr>
              <a:t>Δείτε πώς μπορεί μια εταιρεία να ανακτήσει τον έλεγχο της ιστορίας κατά τη διάρκεια μιας κρίσης:</a:t>
            </a:r>
          </a:p>
        </p:txBody>
      </p:sp>
      <p:sp>
        <p:nvSpPr>
          <p:cNvPr id="215" name="Rectangle 214">
            <a:extLst>
              <a:ext uri="{FF2B5EF4-FFF2-40B4-BE49-F238E27FC236}">
                <a16:creationId xmlns:a16="http://schemas.microsoft.com/office/drawing/2014/main" id="{13AFE945-1351-4152-C7FB-365CFAADD6FC}"/>
              </a:ext>
            </a:extLst>
          </p:cNvPr>
          <p:cNvSpPr/>
          <p:nvPr/>
        </p:nvSpPr>
        <p:spPr>
          <a:xfrm>
            <a:off x="536403" y="168449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4820543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1" y="3683"/>
            <a:ext cx="12191999" cy="20804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412198" y="250891"/>
            <a:ext cx="2662166" cy="214108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Έλεγχος της αφήγησης</a:t>
            </a:r>
            <a:endParaRPr lang="en-US" sz="2200" dirty="0">
              <a:solidFill>
                <a:schemeClr val="bg1"/>
              </a:solidFill>
            </a:endParaRPr>
          </a:p>
        </p:txBody>
      </p:sp>
      <p:sp>
        <p:nvSpPr>
          <p:cNvPr id="215" name="Rectangle 214">
            <a:extLst>
              <a:ext uri="{FF2B5EF4-FFF2-40B4-BE49-F238E27FC236}">
                <a16:creationId xmlns:a16="http://schemas.microsoft.com/office/drawing/2014/main" id="{13AFE945-1351-4152-C7FB-365CFAADD6FC}"/>
              </a:ext>
            </a:extLst>
          </p:cNvPr>
          <p:cNvSpPr/>
          <p:nvPr/>
        </p:nvSpPr>
        <p:spPr>
          <a:xfrm rot="16200000">
            <a:off x="2543970" y="982150"/>
            <a:ext cx="1440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 name="Text Placeholder 10">
            <a:extLst>
              <a:ext uri="{FF2B5EF4-FFF2-40B4-BE49-F238E27FC236}">
                <a16:creationId xmlns:a16="http://schemas.microsoft.com/office/drawing/2014/main" id="{0F7F3D30-B438-9F10-3573-8FBEF8240AE5}"/>
              </a:ext>
            </a:extLst>
          </p:cNvPr>
          <p:cNvSpPr txBox="1">
            <a:spLocks/>
          </p:cNvSpPr>
          <p:nvPr/>
        </p:nvSpPr>
        <p:spPr>
          <a:xfrm>
            <a:off x="3546009" y="250890"/>
            <a:ext cx="8333175" cy="203543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40"/>
              </a:lnSpc>
              <a:spcBef>
                <a:spcPts val="0"/>
              </a:spcBef>
            </a:pPr>
            <a:r>
              <a:rPr lang="en-US" sz="2000" dirty="0">
                <a:solidFill>
                  <a:schemeClr val="bg1"/>
                </a:solidFill>
              </a:rPr>
              <a:t>Ένα τεράστιο μέρος της επιτυχημένης διαχείρισης κρίσεων είναι η ευκαιρία να πείτε τη δική σας ιστορία. Ο κύριος λόγος είναι ότι θα ειπωθεί έτσι κι αλλιώς, και αν παραμείνετε σιωπηλοί, τα μέρη που μπορεί να μην έχουν κατά νου το συμφέρον της εταιρείας σας μπορεί να είναι εκείνα που θα πουν την ιστορία. Ακολουθεί ο τρόπος με τον οποίο μια εταιρεία μπορεί να ανακτήσει τον έλεγχο της ιστορίας κατά τη διάρκεια μιας κρίσης:</a:t>
            </a:r>
          </a:p>
        </p:txBody>
      </p:sp>
      <p:grpSp>
        <p:nvGrpSpPr>
          <p:cNvPr id="344" name="Group 343">
            <a:extLst>
              <a:ext uri="{FF2B5EF4-FFF2-40B4-BE49-F238E27FC236}">
                <a16:creationId xmlns:a16="http://schemas.microsoft.com/office/drawing/2014/main" id="{2FC3FB64-F6A8-CD23-F213-2EFCFE89A63E}"/>
              </a:ext>
            </a:extLst>
          </p:cNvPr>
          <p:cNvGrpSpPr/>
          <p:nvPr/>
        </p:nvGrpSpPr>
        <p:grpSpPr>
          <a:xfrm>
            <a:off x="-59426" y="2440385"/>
            <a:ext cx="1914966" cy="3678553"/>
            <a:chOff x="-1909" y="2363328"/>
            <a:chExt cx="1914966" cy="3678553"/>
          </a:xfrm>
        </p:grpSpPr>
        <p:sp>
          <p:nvSpPr>
            <p:cNvPr id="262" name="Freeform 261">
              <a:extLst>
                <a:ext uri="{FF2B5EF4-FFF2-40B4-BE49-F238E27FC236}">
                  <a16:creationId xmlns:a16="http://schemas.microsoft.com/office/drawing/2014/main" id="{FE8AB9E2-6F96-5752-230C-90FA2E0FA8B9}"/>
                </a:ext>
              </a:extLst>
            </p:cNvPr>
            <p:cNvSpPr/>
            <p:nvPr/>
          </p:nvSpPr>
          <p:spPr>
            <a:xfrm>
              <a:off x="-1909" y="5226416"/>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263" name="Freeform 262">
              <a:extLst>
                <a:ext uri="{FF2B5EF4-FFF2-40B4-BE49-F238E27FC236}">
                  <a16:creationId xmlns:a16="http://schemas.microsoft.com/office/drawing/2014/main" id="{B311E98E-F603-5841-7500-731F7FE5DC8A}"/>
                </a:ext>
              </a:extLst>
            </p:cNvPr>
            <p:cNvSpPr/>
            <p:nvPr/>
          </p:nvSpPr>
          <p:spPr>
            <a:xfrm>
              <a:off x="1379019" y="3028855"/>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264" name="Freeform 263">
              <a:extLst>
                <a:ext uri="{FF2B5EF4-FFF2-40B4-BE49-F238E27FC236}">
                  <a16:creationId xmlns:a16="http://schemas.microsoft.com/office/drawing/2014/main" id="{A87D1145-3CB8-365B-3643-81597A1A4B70}"/>
                </a:ext>
              </a:extLst>
            </p:cNvPr>
            <p:cNvSpPr/>
            <p:nvPr/>
          </p:nvSpPr>
          <p:spPr>
            <a:xfrm>
              <a:off x="-1909" y="2363328"/>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sp>
        <p:nvSpPr>
          <p:cNvPr id="268" name="Text Placeholder 2">
            <a:extLst>
              <a:ext uri="{FF2B5EF4-FFF2-40B4-BE49-F238E27FC236}">
                <a16:creationId xmlns:a16="http://schemas.microsoft.com/office/drawing/2014/main" id="{8776DDB8-9D1C-90F6-162E-CA3E5997A93B}"/>
              </a:ext>
            </a:extLst>
          </p:cNvPr>
          <p:cNvSpPr txBox="1">
            <a:spLocks/>
          </p:cNvSpPr>
          <p:nvPr/>
        </p:nvSpPr>
        <p:spPr>
          <a:xfrm>
            <a:off x="3944770" y="2344953"/>
            <a:ext cx="7955824"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Προετοιμασία </a:t>
            </a:r>
          </a:p>
          <a:p>
            <a:pPr algn="l">
              <a:lnSpc>
                <a:spcPts val="1980"/>
              </a:lnSpc>
              <a:spcBef>
                <a:spcPts val="0"/>
              </a:spcBef>
            </a:pPr>
            <a:r>
              <a:rPr lang="en-US" sz="1900" dirty="0">
                <a:solidFill>
                  <a:srgbClr val="616161"/>
                </a:solidFill>
              </a:rPr>
              <a:t>Η προετοιμασία σχεδίων κρίσης, μηνυμάτων κ.λπ. είναι ο πρώτος τρόπος για να διασφαλίσετε ότι είστε έτοιμοι να αντιδράσετε σε μια κρίση, ενώ οι άλλοι στέκονται ακόμη στις πύλες.</a:t>
            </a:r>
          </a:p>
        </p:txBody>
      </p:sp>
      <p:sp>
        <p:nvSpPr>
          <p:cNvPr id="269" name="Text Placeholder 2">
            <a:extLst>
              <a:ext uri="{FF2B5EF4-FFF2-40B4-BE49-F238E27FC236}">
                <a16:creationId xmlns:a16="http://schemas.microsoft.com/office/drawing/2014/main" id="{4C2F7BD6-D523-B5FF-A5B1-A8FB6E5ACF6C}"/>
              </a:ext>
            </a:extLst>
          </p:cNvPr>
          <p:cNvSpPr txBox="1">
            <a:spLocks/>
          </p:cNvSpPr>
          <p:nvPr/>
        </p:nvSpPr>
        <p:spPr>
          <a:xfrm>
            <a:off x="3937966" y="3522389"/>
            <a:ext cx="8065782" cy="115710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80"/>
              </a:lnSpc>
              <a:spcBef>
                <a:spcPts val="0"/>
              </a:spcBef>
            </a:pPr>
            <a:r>
              <a:rPr lang="en-US" sz="2200" b="1" dirty="0">
                <a:solidFill>
                  <a:srgbClr val="F16924"/>
                </a:solidFill>
              </a:rPr>
              <a:t>Επικοινωνία: </a:t>
            </a:r>
          </a:p>
          <a:p>
            <a:pPr>
              <a:lnSpc>
                <a:spcPts val="1980"/>
              </a:lnSpc>
              <a:spcBef>
                <a:spcPts val="0"/>
              </a:spcBef>
            </a:pPr>
            <a:r>
              <a:rPr lang="en-US" sz="1900" dirty="0"/>
              <a:t>Διαθέστε μια ηλεκτρονική αίθουσα σύνταξης σε μια πολύ εμφανή τοποθεσία. Γεμίστε το με τις πιο πρόσφατες πληροφορίες σχετικά με τον </a:t>
            </a:r>
            <a:r>
              <a:rPr lang="en-US" sz="1900" dirty="0" err="1"/>
              <a:t>οργανισμό </a:t>
            </a:r>
            <a:r>
              <a:rPr lang="en-US" sz="1900" dirty="0"/>
              <a:t>σας και την τρέχουσα κρίση, έτσι ώστε τα μέσα ενημέρωσης ή οι ενδιαφερόμενοι φορείς που αναζητούν τις τελευταίες πληροφορίες απευθείας από την πηγή να είναι σε θέση να τις βρουν. Επιπλέον, να είστε άμεσα διαθέσιμοι τόσο στους ενδιαφερόμενους όσο και στα μέσα μαζικής ενημέρωσης.</a:t>
            </a:r>
          </a:p>
        </p:txBody>
      </p:sp>
      <p:sp>
        <p:nvSpPr>
          <p:cNvPr id="270" name="Text Placeholder 2">
            <a:extLst>
              <a:ext uri="{FF2B5EF4-FFF2-40B4-BE49-F238E27FC236}">
                <a16:creationId xmlns:a16="http://schemas.microsoft.com/office/drawing/2014/main" id="{7C0ADC22-8092-7271-EA9C-16AF6FF7CBEB}"/>
              </a:ext>
            </a:extLst>
          </p:cNvPr>
          <p:cNvSpPr txBox="1">
            <a:spLocks/>
          </p:cNvSpPr>
          <p:nvPr/>
        </p:nvSpPr>
        <p:spPr>
          <a:xfrm>
            <a:off x="3952647" y="5409478"/>
            <a:ext cx="8065782"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B41F7A"/>
                </a:solidFill>
              </a:rPr>
              <a:t>Σχέσεις: </a:t>
            </a:r>
          </a:p>
          <a:p>
            <a:pPr algn="l">
              <a:lnSpc>
                <a:spcPts val="1980"/>
              </a:lnSpc>
              <a:spcBef>
                <a:spcPts val="0"/>
              </a:spcBef>
            </a:pPr>
            <a:r>
              <a:rPr lang="en-US" sz="1900" dirty="0">
                <a:solidFill>
                  <a:srgbClr val="616161"/>
                </a:solidFill>
              </a:rPr>
              <a:t>Η άνοδος του ηλεκτρονικού ρεπορτάζ μέσω των μέσων κοινωνικής δικτύωσης έχει καταστήσει ακόμη πιο σημαντικό να οικοδομήσετε ισχυρές σχέσεις με τους ανθρώπους που καλύπτουν τον κλάδο σας, είτε πρόκειται για διαπιστευμένο δημοσιογράφο είτε για απλό blogger.</a:t>
            </a:r>
          </a:p>
        </p:txBody>
      </p:sp>
      <p:cxnSp>
        <p:nvCxnSpPr>
          <p:cNvPr id="273" name="Straight Connector 272">
            <a:extLst>
              <a:ext uri="{FF2B5EF4-FFF2-40B4-BE49-F238E27FC236}">
                <a16:creationId xmlns:a16="http://schemas.microsoft.com/office/drawing/2014/main" id="{F418CCD4-E296-8AEE-E0BE-8D00D2ADCCE1}"/>
              </a:ext>
            </a:extLst>
          </p:cNvPr>
          <p:cNvCxnSpPr>
            <a:cxnSpLocks/>
          </p:cNvCxnSpPr>
          <p:nvPr/>
        </p:nvCxnSpPr>
        <p:spPr>
          <a:xfrm>
            <a:off x="1862672" y="4254052"/>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211DE478-41CC-7695-3BD5-E09D5EE9FE1D}"/>
              </a:ext>
            </a:extLst>
          </p:cNvPr>
          <p:cNvCxnSpPr>
            <a:cxnSpLocks/>
          </p:cNvCxnSpPr>
          <p:nvPr/>
        </p:nvCxnSpPr>
        <p:spPr>
          <a:xfrm>
            <a:off x="971550" y="2751505"/>
            <a:ext cx="1502573" cy="0"/>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420E5D9-3F7C-D64A-4E7E-7449F3B2D648}"/>
              </a:ext>
            </a:extLst>
          </p:cNvPr>
          <p:cNvCxnSpPr>
            <a:cxnSpLocks/>
          </p:cNvCxnSpPr>
          <p:nvPr/>
        </p:nvCxnSpPr>
        <p:spPr>
          <a:xfrm>
            <a:off x="1199994" y="5580661"/>
            <a:ext cx="1333179" cy="0"/>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grpSp>
        <p:nvGrpSpPr>
          <p:cNvPr id="345" name="Group 344">
            <a:extLst>
              <a:ext uri="{FF2B5EF4-FFF2-40B4-BE49-F238E27FC236}">
                <a16:creationId xmlns:a16="http://schemas.microsoft.com/office/drawing/2014/main" id="{A2FB120B-21A7-01FD-55B2-0A09399B64DC}"/>
              </a:ext>
            </a:extLst>
          </p:cNvPr>
          <p:cNvGrpSpPr/>
          <p:nvPr/>
        </p:nvGrpSpPr>
        <p:grpSpPr>
          <a:xfrm>
            <a:off x="2523493" y="2202275"/>
            <a:ext cx="1227192" cy="1226725"/>
            <a:chOff x="-2729526" y="876905"/>
            <a:chExt cx="1446392" cy="1445841"/>
          </a:xfrm>
        </p:grpSpPr>
        <p:grpSp>
          <p:nvGrpSpPr>
            <p:cNvPr id="346" name="Graphic 8">
              <a:extLst>
                <a:ext uri="{FF2B5EF4-FFF2-40B4-BE49-F238E27FC236}">
                  <a16:creationId xmlns:a16="http://schemas.microsoft.com/office/drawing/2014/main" id="{1ABADED3-4D36-DF2D-0102-9D890B6EE699}"/>
                </a:ext>
              </a:extLst>
            </p:cNvPr>
            <p:cNvGrpSpPr/>
            <p:nvPr/>
          </p:nvGrpSpPr>
          <p:grpSpPr>
            <a:xfrm>
              <a:off x="-2729526" y="876905"/>
              <a:ext cx="1446392" cy="1445841"/>
              <a:chOff x="4817897" y="694433"/>
              <a:chExt cx="1446392" cy="1445841"/>
            </a:xfrm>
          </p:grpSpPr>
          <p:sp>
            <p:nvSpPr>
              <p:cNvPr id="354" name="Freeform 353">
                <a:extLst>
                  <a:ext uri="{FF2B5EF4-FFF2-40B4-BE49-F238E27FC236}">
                    <a16:creationId xmlns:a16="http://schemas.microsoft.com/office/drawing/2014/main" id="{3A71CD22-6141-19DF-97D9-BE636DA71715}"/>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55" name="Freeform 354">
                <a:extLst>
                  <a:ext uri="{FF2B5EF4-FFF2-40B4-BE49-F238E27FC236}">
                    <a16:creationId xmlns:a16="http://schemas.microsoft.com/office/drawing/2014/main" id="{269EA91B-583E-F0F9-FAC6-336914B15FA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47" name="Graphic 3">
              <a:extLst>
                <a:ext uri="{FF2B5EF4-FFF2-40B4-BE49-F238E27FC236}">
                  <a16:creationId xmlns:a16="http://schemas.microsoft.com/office/drawing/2014/main" id="{050A0C58-1FAA-9F79-C1E8-F87A4F087D84}"/>
                </a:ext>
              </a:extLst>
            </p:cNvPr>
            <p:cNvGrpSpPr/>
            <p:nvPr/>
          </p:nvGrpSpPr>
          <p:grpSpPr>
            <a:xfrm>
              <a:off x="-2330240" y="1177786"/>
              <a:ext cx="707330" cy="798180"/>
              <a:chOff x="4643578" y="432838"/>
              <a:chExt cx="1028134" cy="1160188"/>
            </a:xfrm>
            <a:solidFill>
              <a:srgbClr val="616161"/>
            </a:solidFill>
          </p:grpSpPr>
          <p:sp>
            <p:nvSpPr>
              <p:cNvPr id="348" name="Freeform 347">
                <a:extLst>
                  <a:ext uri="{FF2B5EF4-FFF2-40B4-BE49-F238E27FC236}">
                    <a16:creationId xmlns:a16="http://schemas.microsoft.com/office/drawing/2014/main" id="{66B792AA-F05C-C459-BB8A-4437549EC115}"/>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349" name="Graphic 3">
                <a:extLst>
                  <a:ext uri="{FF2B5EF4-FFF2-40B4-BE49-F238E27FC236}">
                    <a16:creationId xmlns:a16="http://schemas.microsoft.com/office/drawing/2014/main" id="{501E4F31-C381-67B8-C7E9-DE45D9B9E5CF}"/>
                  </a:ext>
                </a:extLst>
              </p:cNvPr>
              <p:cNvGrpSpPr/>
              <p:nvPr/>
            </p:nvGrpSpPr>
            <p:grpSpPr>
              <a:xfrm>
                <a:off x="4643578" y="432838"/>
                <a:ext cx="1028134" cy="1160188"/>
                <a:chOff x="4643578" y="432838"/>
                <a:chExt cx="1028134" cy="1160188"/>
              </a:xfrm>
              <a:grpFill/>
            </p:grpSpPr>
            <p:sp>
              <p:nvSpPr>
                <p:cNvPr id="350" name="Freeform 349">
                  <a:extLst>
                    <a:ext uri="{FF2B5EF4-FFF2-40B4-BE49-F238E27FC236}">
                      <a16:creationId xmlns:a16="http://schemas.microsoft.com/office/drawing/2014/main" id="{7F1D0ED1-EA8B-396E-9F4F-80B19CD75779}"/>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51" name="Graphic 3">
                  <a:extLst>
                    <a:ext uri="{FF2B5EF4-FFF2-40B4-BE49-F238E27FC236}">
                      <a16:creationId xmlns:a16="http://schemas.microsoft.com/office/drawing/2014/main" id="{8F9A0C02-3B0B-CAAC-66A1-2F60C5EF9843}"/>
                    </a:ext>
                  </a:extLst>
                </p:cNvPr>
                <p:cNvGrpSpPr/>
                <p:nvPr/>
              </p:nvGrpSpPr>
              <p:grpSpPr>
                <a:xfrm>
                  <a:off x="4643578" y="432838"/>
                  <a:ext cx="1028134" cy="1160188"/>
                  <a:chOff x="4643578" y="432838"/>
                  <a:chExt cx="1028134" cy="1160188"/>
                </a:xfrm>
                <a:grpFill/>
              </p:grpSpPr>
              <p:sp>
                <p:nvSpPr>
                  <p:cNvPr id="352" name="Freeform 351">
                    <a:extLst>
                      <a:ext uri="{FF2B5EF4-FFF2-40B4-BE49-F238E27FC236}">
                        <a16:creationId xmlns:a16="http://schemas.microsoft.com/office/drawing/2014/main" id="{F9898835-9017-F404-60BA-0FDADC6A4B3E}"/>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353" name="Freeform 352">
                    <a:extLst>
                      <a:ext uri="{FF2B5EF4-FFF2-40B4-BE49-F238E27FC236}">
                        <a16:creationId xmlns:a16="http://schemas.microsoft.com/office/drawing/2014/main" id="{7F3D489E-7111-E97F-B57F-B6570D981600}"/>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grpSp>
        <p:nvGrpSpPr>
          <p:cNvPr id="356" name="Group 355">
            <a:extLst>
              <a:ext uri="{FF2B5EF4-FFF2-40B4-BE49-F238E27FC236}">
                <a16:creationId xmlns:a16="http://schemas.microsoft.com/office/drawing/2014/main" id="{DFDCE42E-0DF8-1112-13B7-A5573552C821}"/>
              </a:ext>
            </a:extLst>
          </p:cNvPr>
          <p:cNvGrpSpPr/>
          <p:nvPr/>
        </p:nvGrpSpPr>
        <p:grpSpPr>
          <a:xfrm>
            <a:off x="2523493" y="3639991"/>
            <a:ext cx="1227192" cy="1226725"/>
            <a:chOff x="-1521967" y="2846242"/>
            <a:chExt cx="1446392" cy="1445841"/>
          </a:xfrm>
        </p:grpSpPr>
        <p:grpSp>
          <p:nvGrpSpPr>
            <p:cNvPr id="357" name="Graphic 8">
              <a:extLst>
                <a:ext uri="{FF2B5EF4-FFF2-40B4-BE49-F238E27FC236}">
                  <a16:creationId xmlns:a16="http://schemas.microsoft.com/office/drawing/2014/main" id="{8264A561-3B60-49AA-15C9-72B822FABDE3}"/>
                </a:ext>
              </a:extLst>
            </p:cNvPr>
            <p:cNvGrpSpPr/>
            <p:nvPr/>
          </p:nvGrpSpPr>
          <p:grpSpPr>
            <a:xfrm>
              <a:off x="-1521967" y="2846242"/>
              <a:ext cx="1446392" cy="1445841"/>
              <a:chOff x="4817897" y="694433"/>
              <a:chExt cx="1446392" cy="1445841"/>
            </a:xfrm>
          </p:grpSpPr>
          <p:sp>
            <p:nvSpPr>
              <p:cNvPr id="375" name="Freeform 374">
                <a:extLst>
                  <a:ext uri="{FF2B5EF4-FFF2-40B4-BE49-F238E27FC236}">
                    <a16:creationId xmlns:a16="http://schemas.microsoft.com/office/drawing/2014/main" id="{2822B5CF-BAC2-077F-FF16-F40948539B0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6" name="Freeform 375">
                <a:extLst>
                  <a:ext uri="{FF2B5EF4-FFF2-40B4-BE49-F238E27FC236}">
                    <a16:creationId xmlns:a16="http://schemas.microsoft.com/office/drawing/2014/main" id="{185E77B6-B1B4-A58F-6B2F-790D082E836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58" name="Graphic 3">
              <a:extLst>
                <a:ext uri="{FF2B5EF4-FFF2-40B4-BE49-F238E27FC236}">
                  <a16:creationId xmlns:a16="http://schemas.microsoft.com/office/drawing/2014/main" id="{B1B0EEA2-561B-18C8-6126-A6A64BC56277}"/>
                </a:ext>
              </a:extLst>
            </p:cNvPr>
            <p:cNvGrpSpPr/>
            <p:nvPr/>
          </p:nvGrpSpPr>
          <p:grpSpPr>
            <a:xfrm>
              <a:off x="-1144054" y="3178996"/>
              <a:ext cx="690566" cy="763372"/>
              <a:chOff x="2811409" y="3683011"/>
              <a:chExt cx="858485" cy="948995"/>
            </a:xfrm>
            <a:solidFill>
              <a:srgbClr val="616161"/>
            </a:solidFill>
          </p:grpSpPr>
          <p:sp>
            <p:nvSpPr>
              <p:cNvPr id="359" name="Freeform 358">
                <a:extLst>
                  <a:ext uri="{FF2B5EF4-FFF2-40B4-BE49-F238E27FC236}">
                    <a16:creationId xmlns:a16="http://schemas.microsoft.com/office/drawing/2014/main" id="{B4924793-1A60-A2DB-BC6C-87B93EFB5FB9}"/>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360" name="Graphic 3">
                <a:extLst>
                  <a:ext uri="{FF2B5EF4-FFF2-40B4-BE49-F238E27FC236}">
                    <a16:creationId xmlns:a16="http://schemas.microsoft.com/office/drawing/2014/main" id="{3D7C6934-B6D2-F0EE-201D-886F86FA7B02}"/>
                  </a:ext>
                </a:extLst>
              </p:cNvPr>
              <p:cNvGrpSpPr/>
              <p:nvPr/>
            </p:nvGrpSpPr>
            <p:grpSpPr>
              <a:xfrm>
                <a:off x="2811409" y="3683011"/>
                <a:ext cx="858485" cy="948995"/>
                <a:chOff x="2811409" y="3683011"/>
                <a:chExt cx="858485" cy="948995"/>
              </a:xfrm>
              <a:grpFill/>
            </p:grpSpPr>
            <p:sp>
              <p:nvSpPr>
                <p:cNvPr id="361" name="Freeform 360">
                  <a:extLst>
                    <a:ext uri="{FF2B5EF4-FFF2-40B4-BE49-F238E27FC236}">
                      <a16:creationId xmlns:a16="http://schemas.microsoft.com/office/drawing/2014/main" id="{24FB4559-0FA1-F612-3C97-1E8E191F5E1D}"/>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362" name="Freeform 361">
                  <a:extLst>
                    <a:ext uri="{FF2B5EF4-FFF2-40B4-BE49-F238E27FC236}">
                      <a16:creationId xmlns:a16="http://schemas.microsoft.com/office/drawing/2014/main" id="{F51E2D18-922A-FB0E-A0DB-D09F81DA3896}"/>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363" name="Freeform 362">
                  <a:extLst>
                    <a:ext uri="{FF2B5EF4-FFF2-40B4-BE49-F238E27FC236}">
                      <a16:creationId xmlns:a16="http://schemas.microsoft.com/office/drawing/2014/main" id="{742CCF50-F413-BED1-732A-958A05E90A8C}"/>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364" name="Freeform 363">
                  <a:extLst>
                    <a:ext uri="{FF2B5EF4-FFF2-40B4-BE49-F238E27FC236}">
                      <a16:creationId xmlns:a16="http://schemas.microsoft.com/office/drawing/2014/main" id="{4446AF75-70A0-4944-9EAA-6E64712355FC}"/>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365" name="Freeform 364">
                  <a:extLst>
                    <a:ext uri="{FF2B5EF4-FFF2-40B4-BE49-F238E27FC236}">
                      <a16:creationId xmlns:a16="http://schemas.microsoft.com/office/drawing/2014/main" id="{455EAA4C-0CF5-FFF3-9AC6-C1A8990829CE}"/>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366" name="Freeform 365">
                  <a:extLst>
                    <a:ext uri="{FF2B5EF4-FFF2-40B4-BE49-F238E27FC236}">
                      <a16:creationId xmlns:a16="http://schemas.microsoft.com/office/drawing/2014/main" id="{68A10029-DFD3-7230-841B-4760597A2B9D}"/>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367" name="Freeform 366">
                  <a:extLst>
                    <a:ext uri="{FF2B5EF4-FFF2-40B4-BE49-F238E27FC236}">
                      <a16:creationId xmlns:a16="http://schemas.microsoft.com/office/drawing/2014/main" id="{86C04508-E709-4C1F-A747-3B59464342AF}"/>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68" name="Freeform 367">
                  <a:extLst>
                    <a:ext uri="{FF2B5EF4-FFF2-40B4-BE49-F238E27FC236}">
                      <a16:creationId xmlns:a16="http://schemas.microsoft.com/office/drawing/2014/main" id="{615B2DDD-FA31-B445-DA8A-584000CD9249}"/>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69" name="Freeform 368">
                  <a:extLst>
                    <a:ext uri="{FF2B5EF4-FFF2-40B4-BE49-F238E27FC236}">
                      <a16:creationId xmlns:a16="http://schemas.microsoft.com/office/drawing/2014/main" id="{C2D0C332-E5FB-09E2-C886-401C1BB226F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70" name="Freeform 369">
                  <a:extLst>
                    <a:ext uri="{FF2B5EF4-FFF2-40B4-BE49-F238E27FC236}">
                      <a16:creationId xmlns:a16="http://schemas.microsoft.com/office/drawing/2014/main" id="{565BE0B4-505A-5A8C-5162-9DF10F9BDC69}"/>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71" name="Freeform 370">
                  <a:extLst>
                    <a:ext uri="{FF2B5EF4-FFF2-40B4-BE49-F238E27FC236}">
                      <a16:creationId xmlns:a16="http://schemas.microsoft.com/office/drawing/2014/main" id="{1B09C768-2A91-375B-5398-AB51EA4C2031}"/>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72" name="Freeform 371">
                  <a:extLst>
                    <a:ext uri="{FF2B5EF4-FFF2-40B4-BE49-F238E27FC236}">
                      <a16:creationId xmlns:a16="http://schemas.microsoft.com/office/drawing/2014/main" id="{8C5E28DB-F999-3C67-DBF7-6EE66407907F}"/>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3" name="Freeform 372">
                  <a:extLst>
                    <a:ext uri="{FF2B5EF4-FFF2-40B4-BE49-F238E27FC236}">
                      <a16:creationId xmlns:a16="http://schemas.microsoft.com/office/drawing/2014/main" id="{F6F1F7DB-9E49-A320-D545-4EAEEE1378F1}"/>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4" name="Freeform 373">
                  <a:extLst>
                    <a:ext uri="{FF2B5EF4-FFF2-40B4-BE49-F238E27FC236}">
                      <a16:creationId xmlns:a16="http://schemas.microsoft.com/office/drawing/2014/main" id="{B31E027A-4810-8F5E-DB59-B425EEA3329D}"/>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grpSp>
        <p:nvGrpSpPr>
          <p:cNvPr id="377" name="Group 376">
            <a:extLst>
              <a:ext uri="{FF2B5EF4-FFF2-40B4-BE49-F238E27FC236}">
                <a16:creationId xmlns:a16="http://schemas.microsoft.com/office/drawing/2014/main" id="{A2160A31-8AF2-936D-DFE8-3AE14A4B758A}"/>
              </a:ext>
            </a:extLst>
          </p:cNvPr>
          <p:cNvGrpSpPr/>
          <p:nvPr/>
        </p:nvGrpSpPr>
        <p:grpSpPr>
          <a:xfrm>
            <a:off x="2523493" y="5130136"/>
            <a:ext cx="1227192" cy="1226725"/>
            <a:chOff x="-2575239" y="4990792"/>
            <a:chExt cx="1446392" cy="1445841"/>
          </a:xfrm>
        </p:grpSpPr>
        <p:grpSp>
          <p:nvGrpSpPr>
            <p:cNvPr id="378" name="Graphic 8">
              <a:extLst>
                <a:ext uri="{FF2B5EF4-FFF2-40B4-BE49-F238E27FC236}">
                  <a16:creationId xmlns:a16="http://schemas.microsoft.com/office/drawing/2014/main" id="{201F1300-BC7A-6622-4802-A3131A58094F}"/>
                </a:ext>
              </a:extLst>
            </p:cNvPr>
            <p:cNvGrpSpPr/>
            <p:nvPr/>
          </p:nvGrpSpPr>
          <p:grpSpPr>
            <a:xfrm>
              <a:off x="-2575239" y="4990792"/>
              <a:ext cx="1446392" cy="1445841"/>
              <a:chOff x="4817897" y="694433"/>
              <a:chExt cx="1446392" cy="1445841"/>
            </a:xfrm>
          </p:grpSpPr>
          <p:sp>
            <p:nvSpPr>
              <p:cNvPr id="408" name="Freeform 407">
                <a:extLst>
                  <a:ext uri="{FF2B5EF4-FFF2-40B4-BE49-F238E27FC236}">
                    <a16:creationId xmlns:a16="http://schemas.microsoft.com/office/drawing/2014/main" id="{48E6D72A-19D7-1D34-8080-0910DE13CE7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409" name="Freeform 408">
                <a:extLst>
                  <a:ext uri="{FF2B5EF4-FFF2-40B4-BE49-F238E27FC236}">
                    <a16:creationId xmlns:a16="http://schemas.microsoft.com/office/drawing/2014/main" id="{BD3EF3E4-973D-4956-F736-E6DBBA2320D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379" name="Graphic 3">
              <a:extLst>
                <a:ext uri="{FF2B5EF4-FFF2-40B4-BE49-F238E27FC236}">
                  <a16:creationId xmlns:a16="http://schemas.microsoft.com/office/drawing/2014/main" id="{37ED7F75-D67C-96A1-431B-97A2FA68A42A}"/>
                </a:ext>
              </a:extLst>
            </p:cNvPr>
            <p:cNvGrpSpPr/>
            <p:nvPr/>
          </p:nvGrpSpPr>
          <p:grpSpPr>
            <a:xfrm>
              <a:off x="-2217060" y="5375108"/>
              <a:ext cx="730034" cy="730950"/>
              <a:chOff x="6601914" y="3685068"/>
              <a:chExt cx="1090935" cy="1092304"/>
            </a:xfrm>
            <a:solidFill>
              <a:srgbClr val="616161"/>
            </a:solidFill>
          </p:grpSpPr>
          <p:sp>
            <p:nvSpPr>
              <p:cNvPr id="380" name="Freeform 379">
                <a:extLst>
                  <a:ext uri="{FF2B5EF4-FFF2-40B4-BE49-F238E27FC236}">
                    <a16:creationId xmlns:a16="http://schemas.microsoft.com/office/drawing/2014/main" id="{034C5884-0D48-C846-9A08-71FC4554CE26}"/>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381" name="Freeform 380">
                <a:extLst>
                  <a:ext uri="{FF2B5EF4-FFF2-40B4-BE49-F238E27FC236}">
                    <a16:creationId xmlns:a16="http://schemas.microsoft.com/office/drawing/2014/main" id="{B5CAC43B-83B4-EED4-A630-044A45D312E7}"/>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382" name="Graphic 3">
                <a:extLst>
                  <a:ext uri="{FF2B5EF4-FFF2-40B4-BE49-F238E27FC236}">
                    <a16:creationId xmlns:a16="http://schemas.microsoft.com/office/drawing/2014/main" id="{539DC99A-B936-AD76-0744-17509A62C7C4}"/>
                  </a:ext>
                </a:extLst>
              </p:cNvPr>
              <p:cNvGrpSpPr/>
              <p:nvPr/>
            </p:nvGrpSpPr>
            <p:grpSpPr>
              <a:xfrm>
                <a:off x="6601914" y="3685068"/>
                <a:ext cx="1090935" cy="1092304"/>
                <a:chOff x="6601914" y="3685068"/>
                <a:chExt cx="1090935" cy="1092304"/>
              </a:xfrm>
              <a:grpFill/>
            </p:grpSpPr>
            <p:sp>
              <p:nvSpPr>
                <p:cNvPr id="383" name="Freeform 382">
                  <a:extLst>
                    <a:ext uri="{FF2B5EF4-FFF2-40B4-BE49-F238E27FC236}">
                      <a16:creationId xmlns:a16="http://schemas.microsoft.com/office/drawing/2014/main" id="{B460697D-9FF3-0E6F-08B1-3115BAA13E23}"/>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384" name="Freeform 383">
                  <a:extLst>
                    <a:ext uri="{FF2B5EF4-FFF2-40B4-BE49-F238E27FC236}">
                      <a16:creationId xmlns:a16="http://schemas.microsoft.com/office/drawing/2014/main" id="{BCD61794-A453-9413-86F4-F80006F62F51}"/>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385" name="Graphic 3">
                  <a:extLst>
                    <a:ext uri="{FF2B5EF4-FFF2-40B4-BE49-F238E27FC236}">
                      <a16:creationId xmlns:a16="http://schemas.microsoft.com/office/drawing/2014/main" id="{34E848DC-F1AE-F1E1-04C4-9E04C8BA3F8F}"/>
                    </a:ext>
                  </a:extLst>
                </p:cNvPr>
                <p:cNvGrpSpPr/>
                <p:nvPr/>
              </p:nvGrpSpPr>
              <p:grpSpPr>
                <a:xfrm>
                  <a:off x="6601914" y="3685068"/>
                  <a:ext cx="1090935" cy="1092304"/>
                  <a:chOff x="6601914" y="3685068"/>
                  <a:chExt cx="1090935" cy="1092304"/>
                </a:xfrm>
                <a:grpFill/>
              </p:grpSpPr>
              <p:sp>
                <p:nvSpPr>
                  <p:cNvPr id="406" name="Freeform 405">
                    <a:extLst>
                      <a:ext uri="{FF2B5EF4-FFF2-40B4-BE49-F238E27FC236}">
                        <a16:creationId xmlns:a16="http://schemas.microsoft.com/office/drawing/2014/main" id="{225E4DFA-0F10-801E-0AD2-F9A9FC6C00EC}"/>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7" name="Freeform 406">
                    <a:extLst>
                      <a:ext uri="{FF2B5EF4-FFF2-40B4-BE49-F238E27FC236}">
                        <a16:creationId xmlns:a16="http://schemas.microsoft.com/office/drawing/2014/main" id="{689A2C05-A6FD-854C-C8F4-7942E5A42FEB}"/>
                      </a:ext>
                    </a:extLst>
                  </p:cNvPr>
                  <p:cNvSpPr/>
                  <p:nvPr/>
                </p:nvSpPr>
                <p:spPr>
                  <a:xfrm>
                    <a:off x="6601914" y="3685068"/>
                    <a:ext cx="1090935"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386" name="Freeform 385">
                  <a:extLst>
                    <a:ext uri="{FF2B5EF4-FFF2-40B4-BE49-F238E27FC236}">
                      <a16:creationId xmlns:a16="http://schemas.microsoft.com/office/drawing/2014/main" id="{7801D2B5-ADDF-EA61-4FF3-252C70DE31B1}"/>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387" name="Freeform 386">
                  <a:extLst>
                    <a:ext uri="{FF2B5EF4-FFF2-40B4-BE49-F238E27FC236}">
                      <a16:creationId xmlns:a16="http://schemas.microsoft.com/office/drawing/2014/main" id="{1390F871-3005-9CA5-A460-50FBA48E968A}"/>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88" name="Freeform 387">
                  <a:extLst>
                    <a:ext uri="{FF2B5EF4-FFF2-40B4-BE49-F238E27FC236}">
                      <a16:creationId xmlns:a16="http://schemas.microsoft.com/office/drawing/2014/main" id="{FA59CF37-854B-F75A-EF5D-F49808144E4E}"/>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89" name="Freeform 388">
                  <a:extLst>
                    <a:ext uri="{FF2B5EF4-FFF2-40B4-BE49-F238E27FC236}">
                      <a16:creationId xmlns:a16="http://schemas.microsoft.com/office/drawing/2014/main" id="{FC5CB08F-9D38-B7F5-A53B-BC21BD749285}"/>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0" name="Freeform 389">
                  <a:extLst>
                    <a:ext uri="{FF2B5EF4-FFF2-40B4-BE49-F238E27FC236}">
                      <a16:creationId xmlns:a16="http://schemas.microsoft.com/office/drawing/2014/main" id="{5989E643-F217-0C8C-4019-F18173669413}"/>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1" name="Freeform 390">
                  <a:extLst>
                    <a:ext uri="{FF2B5EF4-FFF2-40B4-BE49-F238E27FC236}">
                      <a16:creationId xmlns:a16="http://schemas.microsoft.com/office/drawing/2014/main" id="{9FA89284-DD5C-58FC-BA1C-C98CDCD46699}"/>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392" name="Freeform 391">
                  <a:extLst>
                    <a:ext uri="{FF2B5EF4-FFF2-40B4-BE49-F238E27FC236}">
                      <a16:creationId xmlns:a16="http://schemas.microsoft.com/office/drawing/2014/main" id="{AB84C811-C875-B6DE-C0B2-40F40B3D7EEE}"/>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3" name="Freeform 392">
                  <a:extLst>
                    <a:ext uri="{FF2B5EF4-FFF2-40B4-BE49-F238E27FC236}">
                      <a16:creationId xmlns:a16="http://schemas.microsoft.com/office/drawing/2014/main" id="{B7ED95BB-B861-D32B-77AB-2EA3C764F880}"/>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4" name="Freeform 393">
                  <a:extLst>
                    <a:ext uri="{FF2B5EF4-FFF2-40B4-BE49-F238E27FC236}">
                      <a16:creationId xmlns:a16="http://schemas.microsoft.com/office/drawing/2014/main" id="{A1526CD4-F68C-30DB-9459-28273066F604}"/>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5" name="Freeform 394">
                  <a:extLst>
                    <a:ext uri="{FF2B5EF4-FFF2-40B4-BE49-F238E27FC236}">
                      <a16:creationId xmlns:a16="http://schemas.microsoft.com/office/drawing/2014/main" id="{347FFE9C-5538-D5E4-7937-FF1CFD501889}"/>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6" name="Freeform 395">
                  <a:extLst>
                    <a:ext uri="{FF2B5EF4-FFF2-40B4-BE49-F238E27FC236}">
                      <a16:creationId xmlns:a16="http://schemas.microsoft.com/office/drawing/2014/main" id="{9341D331-ACB8-C704-28E5-8F759F25A06A}"/>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397" name="Freeform 396">
                  <a:extLst>
                    <a:ext uri="{FF2B5EF4-FFF2-40B4-BE49-F238E27FC236}">
                      <a16:creationId xmlns:a16="http://schemas.microsoft.com/office/drawing/2014/main" id="{FCAEE8A9-0890-4D8E-4FE2-1E18E275DC3C}"/>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398" name="Freeform 397">
                  <a:extLst>
                    <a:ext uri="{FF2B5EF4-FFF2-40B4-BE49-F238E27FC236}">
                      <a16:creationId xmlns:a16="http://schemas.microsoft.com/office/drawing/2014/main" id="{C8DACEEC-6613-584B-B109-F86236533E1F}"/>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399" name="Freeform 398">
                  <a:extLst>
                    <a:ext uri="{FF2B5EF4-FFF2-40B4-BE49-F238E27FC236}">
                      <a16:creationId xmlns:a16="http://schemas.microsoft.com/office/drawing/2014/main" id="{FC8ACDE7-2348-AC4E-C796-6E17561661C4}"/>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400" name="Freeform 399">
                  <a:extLst>
                    <a:ext uri="{FF2B5EF4-FFF2-40B4-BE49-F238E27FC236}">
                      <a16:creationId xmlns:a16="http://schemas.microsoft.com/office/drawing/2014/main" id="{17F16F71-E914-0799-05C9-6890AB944C1F}"/>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401" name="Freeform 400">
                  <a:extLst>
                    <a:ext uri="{FF2B5EF4-FFF2-40B4-BE49-F238E27FC236}">
                      <a16:creationId xmlns:a16="http://schemas.microsoft.com/office/drawing/2014/main" id="{DBCFD735-63A1-9279-82CA-02A0AB0AB1EB}"/>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402" name="Freeform 401">
                  <a:extLst>
                    <a:ext uri="{FF2B5EF4-FFF2-40B4-BE49-F238E27FC236}">
                      <a16:creationId xmlns:a16="http://schemas.microsoft.com/office/drawing/2014/main" id="{A5E4B553-BD48-C5D2-4785-2F666FB64195}"/>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403" name="Freeform 402">
                  <a:extLst>
                    <a:ext uri="{FF2B5EF4-FFF2-40B4-BE49-F238E27FC236}">
                      <a16:creationId xmlns:a16="http://schemas.microsoft.com/office/drawing/2014/main" id="{7EC5897F-FF26-C8C2-6177-BECB747CDE0B}"/>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4" name="Freeform 403">
                  <a:extLst>
                    <a:ext uri="{FF2B5EF4-FFF2-40B4-BE49-F238E27FC236}">
                      <a16:creationId xmlns:a16="http://schemas.microsoft.com/office/drawing/2014/main" id="{38CB8E1A-D714-72E4-5FEC-CA4D0A85532A}"/>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405" name="Freeform 404">
                  <a:extLst>
                    <a:ext uri="{FF2B5EF4-FFF2-40B4-BE49-F238E27FC236}">
                      <a16:creationId xmlns:a16="http://schemas.microsoft.com/office/drawing/2014/main" id="{841CD207-9851-3096-5796-C58DB4D9EACD}"/>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grpSp>
    </p:spTree>
    <p:extLst>
      <p:ext uri="{BB962C8B-B14F-4D97-AF65-F5344CB8AC3E}">
        <p14:creationId xmlns:p14="http://schemas.microsoft.com/office/powerpoint/2010/main" val="667152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Καταιγισμός ιδεών για τους τομείς κινδύνου</a:t>
            </a:r>
          </a:p>
        </p:txBody>
      </p:sp>
      <p:sp>
        <p:nvSpPr>
          <p:cNvPr id="43" name="Rectangle 42">
            <a:extLst>
              <a:ext uri="{FF2B5EF4-FFF2-40B4-BE49-F238E27FC236}">
                <a16:creationId xmlns:a16="http://schemas.microsoft.com/office/drawing/2014/main" id="{60484B0F-FF83-0AF3-67BC-3DFBA9DFE2B8}"/>
              </a:ext>
            </a:extLst>
          </p:cNvPr>
          <p:cNvSpPr/>
          <p:nvPr/>
        </p:nvSpPr>
        <p:spPr>
          <a:xfrm>
            <a:off x="1199" y="33655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b="0" i="0" dirty="0">
                <a:solidFill>
                  <a:schemeClr val="bg1"/>
                </a:solidFill>
                <a:effectLst/>
                <a:latin typeface="Roboto" panose="02000000000000000000" pitchFamily="2" charset="0"/>
              </a:rPr>
              <a:t>TED Talks - από στρατιώτες και ψυχολόγους, αθλητές και επιχειρηματίες - μοιράζονται σκληρά κερδισμένη σοφία για την ηγεσία.</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fontScale="92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l-GR" dirty="0">
                <a:solidFill>
                  <a:schemeClr val="bg1"/>
                </a:solidFill>
              </a:rPr>
              <a:t>ΟΙ ΟΜΙΛΙΕΣ ΤΟΥ </a:t>
            </a:r>
            <a:r>
              <a:rPr lang="en-GB" dirty="0">
                <a:solidFill>
                  <a:schemeClr val="bg1"/>
                </a:solidFill>
              </a:rPr>
              <a:t>TED Ε</a:t>
            </a:r>
            <a:r>
              <a:rPr lang="el-GR" dirty="0">
                <a:solidFill>
                  <a:schemeClr val="bg1"/>
                </a:solidFill>
              </a:rPr>
              <a:t>Ι</a:t>
            </a:r>
            <a:r>
              <a:rPr lang="en-GB" dirty="0">
                <a:solidFill>
                  <a:schemeClr val="bg1"/>
                </a:solidFill>
              </a:rPr>
              <a:t>ΝΑΙ ΓΕΜ</a:t>
            </a:r>
            <a:r>
              <a:rPr lang="el-GR" dirty="0">
                <a:solidFill>
                  <a:schemeClr val="bg1"/>
                </a:solidFill>
              </a:rPr>
              <a:t>Α</a:t>
            </a:r>
            <a:r>
              <a:rPr lang="en-GB" dirty="0">
                <a:solidFill>
                  <a:schemeClr val="bg1"/>
                </a:solidFill>
              </a:rPr>
              <a:t>Τ</a:t>
            </a:r>
            <a:r>
              <a:rPr lang="el-GR" dirty="0">
                <a:solidFill>
                  <a:schemeClr val="bg1"/>
                </a:solidFill>
              </a:rPr>
              <a:t>ΕΣ</a:t>
            </a:r>
            <a:r>
              <a:rPr lang="en-GB" dirty="0">
                <a:solidFill>
                  <a:schemeClr val="bg1"/>
                </a:solidFill>
              </a:rPr>
              <a:t> ΜΕ ΠΕΡΙΕΧ</a:t>
            </a:r>
            <a:r>
              <a:rPr lang="el-GR" dirty="0">
                <a:solidFill>
                  <a:schemeClr val="bg1"/>
                </a:solidFill>
              </a:rPr>
              <a:t>Ο</a:t>
            </a:r>
            <a:r>
              <a:rPr lang="en-GB" dirty="0">
                <a:solidFill>
                  <a:schemeClr val="bg1"/>
                </a:solidFill>
              </a:rPr>
              <a:t>ΜΕΝΟ ΓΙΑ ΤΗΝ ΗΓΕΣ</a:t>
            </a:r>
            <a:r>
              <a:rPr lang="el-GR" dirty="0">
                <a:solidFill>
                  <a:schemeClr val="bg1"/>
                </a:solidFill>
              </a:rPr>
              <a:t>Ι</a:t>
            </a:r>
            <a:r>
              <a:rPr lang="en-GB" dirty="0">
                <a:solidFill>
                  <a:schemeClr val="bg1"/>
                </a:solidFill>
              </a:rPr>
              <a:t>Α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ναι αντανακλαστικός</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ασχοληθείτε με την πολυπλοκότητα</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να είστε πρόθυμοι να προκαλέσετε</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και να προκαλείται</a:t>
            </a: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529758" y="2650964"/>
            <a:ext cx="3266065" cy="8849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ts val="225"/>
              </a:spcBef>
              <a:buClr>
                <a:srgbClr val="F16924"/>
              </a:buCl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Δείτε την επιμελημένη λίστα αναπαραγωγής με την ησυχία σας </a:t>
            </a:r>
            <a:r>
              <a:rPr lang="en-IE" sz="2200" b="1" dirty="0">
                <a:latin typeface="+mn-lt"/>
                <a:hlinkClick r:id="rId3"/>
              </a:rPr>
              <a:t>Περιηγηθείτε στις λίστες αναπαραγωγής (ted.com)</a:t>
            </a:r>
            <a:endParaRPr lang="en-GB" sz="2200" b="1" dirty="0">
              <a:solidFill>
                <a:srgbClr val="595959"/>
              </a:solidFill>
              <a:latin typeface="+mn-lt"/>
              <a:ea typeface="Lato Light" panose="020F0502020204030203" pitchFamily="34" charset="0"/>
              <a:cs typeface="Calibri" panose="020F0502020204030204" pitchFamily="34" charset="0"/>
            </a:endParaRPr>
          </a:p>
        </p:txBody>
      </p:sp>
      <p:pic>
        <p:nvPicPr>
          <p:cNvPr id="10" name="Picture 9">
            <a:extLst>
              <a:ext uri="{FF2B5EF4-FFF2-40B4-BE49-F238E27FC236}">
                <a16:creationId xmlns:a16="http://schemas.microsoft.com/office/drawing/2014/main" id="{A179AB63-9D9C-8479-3D04-3A31076DE57D}"/>
              </a:ext>
            </a:extLst>
          </p:cNvPr>
          <p:cNvPicPr>
            <a:picLocks noChangeAspect="1"/>
          </p:cNvPicPr>
          <p:nvPr/>
        </p:nvPicPr>
        <p:blipFill>
          <a:blip r:embed="rId4"/>
          <a:stretch>
            <a:fillRect/>
          </a:stretch>
        </p:blipFill>
        <p:spPr>
          <a:xfrm>
            <a:off x="4021796" y="2829678"/>
            <a:ext cx="8129625" cy="3306966"/>
          </a:xfrm>
          <a:prstGeom prst="rect">
            <a:avLst/>
          </a:prstGeom>
        </p:spPr>
      </p:pic>
    </p:spTree>
    <p:extLst>
      <p:ext uri="{BB962C8B-B14F-4D97-AF65-F5344CB8AC3E}">
        <p14:creationId xmlns:p14="http://schemas.microsoft.com/office/powerpoint/2010/main" val="35608235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157153" cy="4745389"/>
          </a:xfrm>
        </p:spPr>
        <p:txBody>
          <a:bodyPr>
            <a:normAutofit/>
          </a:bodyPr>
          <a:lstStyle/>
          <a:p>
            <a:pPr marL="15875" indent="-15875">
              <a:lnSpc>
                <a:spcPts val="2280"/>
              </a:lnSpc>
              <a:spcBef>
                <a:spcPts val="0"/>
              </a:spcBef>
            </a:pPr>
            <a:r>
              <a:rPr lang="en-US" sz="2200" dirty="0"/>
              <a:t>Τι μπορείτε να χρησιμοποιήσετε για να σας βοηθήσει να ελέγξετε την αφήγηση;</a:t>
            </a:r>
          </a:p>
          <a:p>
            <a:pPr marL="15875" indent="-15875">
              <a:lnSpc>
                <a:spcPts val="2280"/>
              </a:lnSpc>
              <a:spcBef>
                <a:spcPts val="0"/>
              </a:spcBef>
            </a:pPr>
            <a:endParaRPr lang="en-US" sz="2200" dirty="0"/>
          </a:p>
          <a:p>
            <a:pPr marL="15875" indent="-15875">
              <a:lnSpc>
                <a:spcPts val="2280"/>
              </a:lnSpc>
              <a:spcBef>
                <a:spcPts val="0"/>
              </a:spcBef>
            </a:pPr>
            <a:r>
              <a:rPr lang="en-US" sz="2200" b="1" dirty="0">
                <a:highlight>
                  <a:srgbClr val="F16924"/>
                </a:highlight>
              </a:rPr>
              <a:t> Χρησιμοποιήστε τις </a:t>
            </a:r>
            <a:r>
              <a:rPr lang="en-US" sz="2200" b="1" dirty="0" err="1">
                <a:highlight>
                  <a:srgbClr val="F16924"/>
                </a:highlight>
              </a:rPr>
              <a:t>οργανωτικές </a:t>
            </a:r>
            <a:r>
              <a:rPr lang="en-US" sz="2200" b="1" dirty="0">
                <a:highlight>
                  <a:srgbClr val="F16924"/>
                </a:highlight>
              </a:rPr>
              <a:t>σας γνώσεις</a:t>
            </a:r>
          </a:p>
          <a:p>
            <a:pPr marL="15875" indent="-15875">
              <a:lnSpc>
                <a:spcPts val="2280"/>
              </a:lnSpc>
              <a:spcBef>
                <a:spcPts val="0"/>
              </a:spcBef>
            </a:pPr>
            <a:endParaRPr lang="en-US" sz="2200" b="1" dirty="0">
              <a:highlight>
                <a:srgbClr val="F16924"/>
              </a:highlight>
            </a:endParaRPr>
          </a:p>
          <a:p>
            <a:pPr marL="15875" indent="-15875">
              <a:lnSpc>
                <a:spcPts val="2280"/>
              </a:lnSpc>
              <a:spcBef>
                <a:spcPts val="0"/>
              </a:spcBef>
            </a:pPr>
            <a:r>
              <a:rPr lang="en-US" sz="1600" dirty="0"/>
              <a:t>Μια κρίση δεν συμβαίνει στο κενό, οπότε η εξοικείωση με το περιβάλλον γύρω από την εταιρεία σας, τόσο στο παρελθόν όσο και στο παρόν, αποτελεί σημαντικό κομμάτι για την κατανόηση των παγίδων και των ευκαιριών κατά την είσοδό σας σε μια κρίση. Η κατανόηση του περιβάλλοντός σας μπορεί να σας ενημερώσει για τον τρόπο με τον οποίο δομείτε τα μηνύματά σας και αντιλαμβάνεστε τα ερεθίσματα των μέσων ενημέρωσης που μπορεί να προκαλέσουν αναζωπύρωση της κάλυψης.</a:t>
            </a:r>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r>
              <a:rPr lang="en-GB" dirty="0"/>
              <a:t>Έλεγχος της αφήγησης</a:t>
            </a:r>
          </a:p>
          <a:p>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8" name="Picture 7">
            <a:extLst>
              <a:ext uri="{FF2B5EF4-FFF2-40B4-BE49-F238E27FC236}">
                <a16:creationId xmlns:a16="http://schemas.microsoft.com/office/drawing/2014/main" id="{904C6528-53E3-E683-DE69-CC15A9DDBC3A}"/>
              </a:ext>
            </a:extLst>
          </p:cNvPr>
          <p:cNvPicPr>
            <a:picLocks noChangeAspect="1"/>
          </p:cNvPicPr>
          <p:nvPr/>
        </p:nvPicPr>
        <p:blipFill rotWithShape="1">
          <a:blip r:embed="rId2"/>
          <a:srcRect l="28651" r="28651"/>
          <a:stretch/>
        </p:blipFill>
        <p:spPr>
          <a:xfrm>
            <a:off x="7078132" y="0"/>
            <a:ext cx="4464683" cy="6858000"/>
          </a:xfrm>
          <a:prstGeom prst="rect">
            <a:avLst/>
          </a:prstGeom>
        </p:spPr>
      </p:pic>
    </p:spTree>
    <p:extLst>
      <p:ext uri="{BB962C8B-B14F-4D97-AF65-F5344CB8AC3E}">
        <p14:creationId xmlns:p14="http://schemas.microsoft.com/office/powerpoint/2010/main" val="20603351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C66F96E-968B-E37E-BCB4-14973A37F516}"/>
              </a:ext>
            </a:extLst>
          </p:cNvPr>
          <p:cNvSpPr>
            <a:spLocks noGrp="1"/>
          </p:cNvSpPr>
          <p:nvPr>
            <p:ph type="body" sz="quarter" idx="18"/>
          </p:nvPr>
        </p:nvSpPr>
        <p:spPr>
          <a:xfrm>
            <a:off x="734714" y="1757010"/>
            <a:ext cx="6597419" cy="4745389"/>
          </a:xfrm>
        </p:spPr>
        <p:txBody>
          <a:bodyPr>
            <a:normAutofit/>
          </a:bodyPr>
          <a:lstStyle/>
          <a:p>
            <a:pPr marL="15875" indent="-15875">
              <a:lnSpc>
                <a:spcPts val="2280"/>
              </a:lnSpc>
              <a:spcBef>
                <a:spcPts val="0"/>
              </a:spcBef>
            </a:pPr>
            <a:r>
              <a:rPr lang="en-US" sz="2200" dirty="0">
                <a:highlight>
                  <a:srgbClr val="F16924"/>
                </a:highlight>
              </a:rPr>
              <a:t> </a:t>
            </a:r>
            <a:r>
              <a:rPr lang="en-US" sz="1800" dirty="0">
                <a:highlight>
                  <a:srgbClr val="F16924"/>
                </a:highlight>
              </a:rPr>
              <a:t>Χρησιμοποιήστε τους ανθρώπους σας</a:t>
            </a:r>
            <a:r>
              <a:rPr lang="en-US" sz="1800" dirty="0">
                <a:solidFill>
                  <a:srgbClr val="F16924"/>
                </a:solidFill>
                <a:highlight>
                  <a:srgbClr val="F16924"/>
                </a:highlight>
              </a:rPr>
              <a:t>.</a:t>
            </a:r>
          </a:p>
          <a:p>
            <a:pPr marL="15875" indent="-15875">
              <a:lnSpc>
                <a:spcPts val="2280"/>
              </a:lnSpc>
              <a:spcBef>
                <a:spcPts val="0"/>
              </a:spcBef>
            </a:pPr>
            <a:r>
              <a:rPr lang="en-US" sz="1800" dirty="0"/>
              <a:t>Οι αφηγήσεις είναι ο μόνος τρόπος για να αλλάξουν τα μυαλά και την αντίληψη ενός απρόθυμου κοινού. Έχοντας κατά νου ότι ο πυρήνας κάθε εταιρείας είναι οι άνθρωποί της, μάθετε ποιες ενέργειες έχουν ήδη ληφθεί για να διορθωθεί το λάθος. </a:t>
            </a:r>
          </a:p>
          <a:p>
            <a:pPr marL="15875" indent="-15875">
              <a:lnSpc>
                <a:spcPts val="2280"/>
              </a:lnSpc>
              <a:spcBef>
                <a:spcPts val="0"/>
              </a:spcBef>
            </a:pPr>
            <a:endParaRPr lang="en-US" sz="1800" dirty="0"/>
          </a:p>
          <a:p>
            <a:pPr marL="15875" indent="-15875">
              <a:lnSpc>
                <a:spcPts val="2280"/>
              </a:lnSpc>
              <a:spcBef>
                <a:spcPts val="0"/>
              </a:spcBef>
            </a:pPr>
            <a:r>
              <a:rPr lang="en-US" sz="1800" dirty="0">
                <a:highlight>
                  <a:srgbClr val="F16924"/>
                </a:highlight>
              </a:rPr>
              <a:t> Χρησιμοποιήστε τα κανάλια σας</a:t>
            </a:r>
            <a:r>
              <a:rPr lang="en-US" sz="1800" dirty="0">
                <a:solidFill>
                  <a:srgbClr val="F16924"/>
                </a:solidFill>
                <a:highlight>
                  <a:srgbClr val="F16924"/>
                </a:highlight>
              </a:rPr>
              <a:t>.</a:t>
            </a:r>
          </a:p>
          <a:p>
            <a:pPr marL="15875" indent="-15875">
              <a:lnSpc>
                <a:spcPts val="2280"/>
              </a:lnSpc>
              <a:spcBef>
                <a:spcPts val="0"/>
              </a:spcBef>
            </a:pPr>
            <a:r>
              <a:rPr lang="en-US" sz="1800" dirty="0"/>
              <a:t>Τα μέσα κοινωνικής δικτύωσης αλλάζουν το παιχνίδι της κρίσης. Η σημερινή ψηφιακή εποχή απαιτεί διαφάνεια και ταχεία δράση όσο ποτέ άλλοτε. Τα ισχυρά οπτικά στοιχεία, όπως η καλή φωτογραφία και το βίντεο, μπορούν επίσης να ενισχύσουν την ιστορία σας και θα είναι πάντα πιο συναρπαστικά από μια απλή δήλωση.</a:t>
            </a:r>
          </a:p>
          <a:p>
            <a:pPr marL="15875" indent="-15875">
              <a:lnSpc>
                <a:spcPts val="2280"/>
              </a:lnSpc>
              <a:spcBef>
                <a:spcPts val="0"/>
              </a:spcBef>
            </a:pPr>
            <a:endParaRPr lang="en-US" sz="2200" dirty="0"/>
          </a:p>
        </p:txBody>
      </p:sp>
      <p:sp>
        <p:nvSpPr>
          <p:cNvPr id="4" name="Text Placeholder 3">
            <a:extLst>
              <a:ext uri="{FF2B5EF4-FFF2-40B4-BE49-F238E27FC236}">
                <a16:creationId xmlns:a16="http://schemas.microsoft.com/office/drawing/2014/main" id="{9163E0E6-8932-D33B-8B1E-5C8BEF3AA70A}"/>
              </a:ext>
            </a:extLst>
          </p:cNvPr>
          <p:cNvSpPr>
            <a:spLocks noGrp="1"/>
          </p:cNvSpPr>
          <p:nvPr>
            <p:ph type="body" sz="quarter" idx="16"/>
          </p:nvPr>
        </p:nvSpPr>
        <p:spPr/>
        <p:txBody>
          <a:bodyPr>
            <a:normAutofit lnSpcReduction="10000"/>
          </a:bodyPr>
          <a:lstStyle/>
          <a:p>
            <a:r>
              <a:rPr lang="en-GB" dirty="0"/>
              <a:t>Έλεγχος της αφήγησης</a:t>
            </a:r>
          </a:p>
          <a:p>
            <a:endParaRPr lang="en-US" dirty="0"/>
          </a:p>
        </p:txBody>
      </p:sp>
      <p:sp>
        <p:nvSpPr>
          <p:cNvPr id="6" name="Rectangle 5">
            <a:extLst>
              <a:ext uri="{FF2B5EF4-FFF2-40B4-BE49-F238E27FC236}">
                <a16:creationId xmlns:a16="http://schemas.microsoft.com/office/drawing/2014/main" id="{9697F5D1-F6F7-338D-08C7-76D3D472B1FC}"/>
              </a:ext>
            </a:extLst>
          </p:cNvPr>
          <p:cNvSpPr/>
          <p:nvPr/>
        </p:nvSpPr>
        <p:spPr>
          <a:xfrm>
            <a:off x="734714" y="1422523"/>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a:extLst>
              <a:ext uri="{FF2B5EF4-FFF2-40B4-BE49-F238E27FC236}">
                <a16:creationId xmlns:a16="http://schemas.microsoft.com/office/drawing/2014/main" id="{2CC1EE06-3AD2-6298-0E28-B2B3C8C642C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3593" r="50855"/>
          <a:stretch/>
        </p:blipFill>
        <p:spPr>
          <a:xfrm>
            <a:off x="7636933" y="0"/>
            <a:ext cx="4030134" cy="6858000"/>
          </a:xfrm>
          <a:prstGeom prst="rect">
            <a:avLst/>
          </a:prstGeom>
        </p:spPr>
      </p:pic>
    </p:spTree>
    <p:extLst>
      <p:ext uri="{BB962C8B-B14F-4D97-AF65-F5344CB8AC3E}">
        <p14:creationId xmlns:p14="http://schemas.microsoft.com/office/powerpoint/2010/main" val="274847998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774510"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720750"/>
          </a:xfrm>
        </p:spPr>
        <p:txBody>
          <a:bodyPr>
            <a:normAutofit fontScale="70000" lnSpcReduction="20000"/>
          </a:bodyPr>
          <a:lstStyle/>
          <a:p>
            <a:r>
              <a:rPr lang="en-US" dirty="0"/>
              <a:t>ΚΑΤΑΝ</a:t>
            </a:r>
            <a:r>
              <a:rPr lang="el-GR" dirty="0"/>
              <a:t>Ο</a:t>
            </a:r>
            <a:r>
              <a:rPr lang="en-US" dirty="0"/>
              <a:t>ΗΣΗ ΤΩ</a:t>
            </a:r>
            <a:r>
              <a:rPr lang="el-GR" dirty="0"/>
              <a:t>Ν</a:t>
            </a:r>
            <a:r>
              <a:rPr lang="en-US" dirty="0"/>
              <a:t> ΧΡΗΜΑΤΟΟΙΚΟΝΟΜΙΚ</a:t>
            </a:r>
            <a:r>
              <a:rPr lang="el-GR" dirty="0"/>
              <a:t>Ω</a:t>
            </a:r>
            <a:r>
              <a:rPr lang="en-US" dirty="0"/>
              <a:t>Ν ΔΕΙΚΤ</a:t>
            </a:r>
            <a:r>
              <a:rPr lang="el-GR" dirty="0"/>
              <a:t>Ω</a:t>
            </a:r>
            <a:r>
              <a:rPr lang="en-US" dirty="0"/>
              <a:t>Ν ΚΑΙ ΤΩΝ ΔΕΙΚΤ</a:t>
            </a:r>
            <a:r>
              <a:rPr lang="el-GR" dirty="0"/>
              <a:t>Ω</a:t>
            </a:r>
            <a:r>
              <a:rPr lang="en-US" dirty="0"/>
              <a:t>Ν ΡΕΥΣΤ</a:t>
            </a:r>
            <a:r>
              <a:rPr lang="el-GR" dirty="0"/>
              <a:t>Ο</a:t>
            </a:r>
            <a:r>
              <a:rPr lang="en-US" dirty="0"/>
              <a:t>ΤΗΤΑΣ &amp; ΤΗΣ ΑΦΕΡ</a:t>
            </a:r>
            <a:r>
              <a:rPr lang="el-GR" dirty="0"/>
              <a:t>Ε</a:t>
            </a:r>
            <a:r>
              <a:rPr lang="en-US" dirty="0"/>
              <a:t>ΓΓΥ</a:t>
            </a:r>
            <a:r>
              <a:rPr lang="el-GR" dirty="0"/>
              <a:t>Ο</a:t>
            </a:r>
            <a:r>
              <a:rPr lang="en-US" dirty="0"/>
              <a:t>ΤΗΤΑΣ ΩΣ ΠΡΟΣ</a:t>
            </a:r>
            <a:r>
              <a:rPr lang="el-GR" dirty="0"/>
              <a:t>Ε</a:t>
            </a:r>
            <a:r>
              <a:rPr lang="en-US" dirty="0"/>
              <a:t>ΓΓΙΣΗ</a:t>
            </a:r>
            <a:r>
              <a:rPr lang="el-GR" dirty="0"/>
              <a:t>Σ</a:t>
            </a:r>
            <a:r>
              <a:rPr lang="en-US" dirty="0"/>
              <a:t> ΑΝΑΔΙ</a:t>
            </a:r>
            <a:r>
              <a:rPr lang="el-GR" dirty="0"/>
              <a:t>Α</a:t>
            </a:r>
            <a:r>
              <a:rPr lang="en-US" dirty="0"/>
              <a:t>ΡΘΡΩΣΗΣ</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a:xfrm>
            <a:off x="1269930" y="510737"/>
            <a:ext cx="3774510" cy="837258"/>
          </a:xfrm>
        </p:spPr>
        <p:txBody>
          <a:bodyPr>
            <a:normAutofit fontScale="62500" lnSpcReduction="20000"/>
          </a:bodyPr>
          <a:lstStyle/>
          <a:p>
            <a:r>
              <a:rPr lang="en-US" dirty="0">
                <a:solidFill>
                  <a:schemeClr val="bg1"/>
                </a:solidFill>
              </a:rPr>
              <a:t>Επόμενη </a:t>
            </a:r>
            <a:r>
              <a:rPr lang="en-US" dirty="0">
                <a:solidFill>
                  <a:srgbClr val="EDA13E"/>
                </a:solidFill>
              </a:rPr>
              <a:t>ενότητα 5..</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6096000"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990484" cy="1723686"/>
          </a:xfrm>
        </p:spPr>
        <p:txBody>
          <a:bodyPr>
            <a:normAutofit/>
          </a:bodyPr>
          <a:lstStyle/>
          <a:p>
            <a:r>
              <a:rPr lang="en-GB" dirty="0"/>
              <a:t>Ηγεσία σε περιόδους κρίσης</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445951" y="1911116"/>
            <a:ext cx="5000886" cy="4334679"/>
          </a:xfrm>
        </p:spPr>
        <p:txBody>
          <a:bodyPr>
            <a:normAutofit fontScale="92500" lnSpcReduction="20000"/>
          </a:bodyPr>
          <a:lstStyle/>
          <a:p>
            <a:pPr marL="12700" indent="-12700">
              <a:lnSpc>
                <a:spcPct val="100000"/>
              </a:lnSpc>
              <a:spcBef>
                <a:spcPts val="0"/>
              </a:spcBef>
            </a:pPr>
            <a:r>
              <a:rPr lang="en-US" sz="2200" dirty="0" err="1"/>
              <a:t>Η αναγνώριση </a:t>
            </a:r>
            <a:r>
              <a:rPr lang="en-US" sz="2200" dirty="0"/>
              <a:t>ότι μια εταιρεία αντιμετωπίζει κρίση είναι το πρώτο πράγμα που πρέπει να κάνουν οι ηγέτες. Είναι ένα δύσκολο βήμα, ιδίως κατά την έναρξη κρίσεων που δεν έρχονται ξαφνικά αλλά αναπτύσσονται μέσα από οικείες συνθήκες που αποκρύπτουν τη φύση τους. Μόλις οι ηγέτες </a:t>
            </a:r>
            <a:r>
              <a:rPr lang="en-US" sz="2200" dirty="0" err="1"/>
              <a:t>αναγνωρίσουν </a:t>
            </a:r>
            <a:r>
              <a:rPr lang="en-US" sz="2200" dirty="0"/>
              <a:t>μια κρίση ως τέτοια, μπορούν να αρχίσουν να οργανώνουν μια απάντηση. Δεν μπορούν όμως να ανταποκριθούν όπως θα έκαναν σε μια συνηθισμένη κατάσταση έκτακτης ανάγκης, ακολουθώντας σχέδια που είχαν εκπονηθεί εκ των προτέρων. Κατά τη διάρκεια μιας κρίσης, η οποία κυριαρχείται από την έλλειψη εξοικείωσης και την αβεβαιότητα, οι αποτελεσματικές απαντήσεις είναι σε μεγάλο βαθμό αυτοσχεδιαστικές.</a:t>
            </a:r>
          </a:p>
        </p:txBody>
      </p:sp>
      <p:sp>
        <p:nvSpPr>
          <p:cNvPr id="8" name="TextBox 125">
            <a:extLst>
              <a:ext uri="{FF2B5EF4-FFF2-40B4-BE49-F238E27FC236}">
                <a16:creationId xmlns:a16="http://schemas.microsoft.com/office/drawing/2014/main" id="{9BED686A-47A4-F647-EA7A-E1D7671600A2}"/>
              </a:ext>
            </a:extLst>
          </p:cNvPr>
          <p:cNvSpPr txBox="1"/>
          <p:nvPr/>
        </p:nvSpPr>
        <p:spPr>
          <a:xfrm>
            <a:off x="6563698" y="2632356"/>
            <a:ext cx="5397244" cy="4225644"/>
          </a:xfrm>
          <a:prstGeom prst="rect">
            <a:avLst/>
          </a:prstGeom>
          <a:noFill/>
        </p:spPr>
        <p:txBody>
          <a:bodyPr wrap="square" rtlCol="0" anchor="t" anchorCtr="0">
            <a:spAutoFit/>
          </a:bodyPr>
          <a:lstStyle/>
          <a:p>
            <a:pPr>
              <a:lnSpc>
                <a:spcPts val="2200"/>
              </a:lnSpc>
              <a:spcBef>
                <a:spcPts val="600"/>
              </a:spcBef>
              <a:buClr>
                <a:srgbClr val="EDA13E"/>
              </a:buClr>
            </a:pPr>
            <a:r>
              <a:rPr lang="en-GB" sz="1600" b="1" dirty="0">
                <a:solidFill>
                  <a:schemeClr val="bg1"/>
                </a:solidFill>
                <a:ea typeface="League Spartan" charset="0"/>
                <a:cs typeface="Poppins" pitchFamily="2" charset="77"/>
              </a:rPr>
              <a:t>Αυτό που χρειάζονται οι ηγέτες κατά τη διάρκεια μιας κρίσης δεν είναι ένα προκαθορισμένο σχέδιο αντίδρασης, αλλά συμπεριφορές και νοοτροπίες που θα τους αποτρέψουν από το να αντιδρούν υπερβολικά στις χθεσινές εξελίξεις και θα τους βοηθήσουν να κοιτάξουν μπροστά.  Ορισμένες συμβουλές ..</a:t>
            </a:r>
          </a:p>
          <a:p>
            <a:pPr>
              <a:lnSpc>
                <a:spcPts val="2200"/>
              </a:lnSpc>
              <a:spcBef>
                <a:spcPts val="600"/>
              </a:spcBef>
              <a:buClr>
                <a:srgbClr val="EDA13E"/>
              </a:buClr>
            </a:pPr>
            <a:endParaRPr lang="en-GB" sz="1600" b="1"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1600" dirty="0">
                <a:solidFill>
                  <a:schemeClr val="bg1"/>
                </a:solidFill>
                <a:ea typeface="League Spartan" charset="0"/>
                <a:cs typeface="Poppins" pitchFamily="2" charset="77"/>
              </a:rPr>
              <a:t>Διαχειριστείτε το άγχος, μην το δημιουργείτε</a:t>
            </a:r>
          </a:p>
          <a:p>
            <a:pPr marL="342900" indent="-342900">
              <a:lnSpc>
                <a:spcPts val="2200"/>
              </a:lnSpc>
              <a:spcBef>
                <a:spcPts val="600"/>
              </a:spcBef>
              <a:buClr>
                <a:srgbClr val="EDA13E"/>
              </a:buClr>
              <a:buFont typeface="Arial" panose="020B0604020202020204" pitchFamily="34" charset="0"/>
              <a:buChar char="•"/>
            </a:pPr>
            <a:r>
              <a:rPr lang="en-GB" sz="1600" dirty="0">
                <a:solidFill>
                  <a:schemeClr val="bg1"/>
                </a:solidFill>
                <a:ea typeface="League Spartan" charset="0"/>
                <a:cs typeface="Poppins" pitchFamily="2" charset="77"/>
              </a:rPr>
              <a:t>Να είστε βάναυσα ειλικρινείς... και σίγουροι για ένα καλό αποτέλεσμα.</a:t>
            </a:r>
          </a:p>
          <a:p>
            <a:pPr marL="342900" indent="-342900">
              <a:lnSpc>
                <a:spcPts val="2200"/>
              </a:lnSpc>
              <a:spcBef>
                <a:spcPts val="600"/>
              </a:spcBef>
              <a:buClr>
                <a:srgbClr val="EDA13E"/>
              </a:buClr>
              <a:buFont typeface="Arial" panose="020B0604020202020204" pitchFamily="34" charset="0"/>
              <a:buChar char="•"/>
            </a:pPr>
            <a:r>
              <a:rPr lang="en-GB" sz="1600" dirty="0">
                <a:solidFill>
                  <a:schemeClr val="bg1"/>
                </a:solidFill>
                <a:ea typeface="League Spartan" charset="0"/>
                <a:cs typeface="Poppins" pitchFamily="2" charset="77"/>
              </a:rPr>
              <a:t>Να είστε πιο κοντά, να κάνετε τα πράγματα ΚΑΤΑΛΛΗΛΑ!</a:t>
            </a:r>
          </a:p>
          <a:p>
            <a:pPr marL="342900" indent="-342900">
              <a:lnSpc>
                <a:spcPts val="2200"/>
              </a:lnSpc>
              <a:spcBef>
                <a:spcPts val="600"/>
              </a:spcBef>
              <a:buClr>
                <a:srgbClr val="EDA13E"/>
              </a:buClr>
              <a:buFont typeface="Arial" panose="020B0604020202020204" pitchFamily="34" charset="0"/>
              <a:buChar char="•"/>
            </a:pPr>
            <a:r>
              <a:rPr lang="en-GB" sz="1600" dirty="0">
                <a:solidFill>
                  <a:schemeClr val="bg1"/>
                </a:solidFill>
                <a:ea typeface="League Spartan" charset="0"/>
                <a:cs typeface="Poppins" pitchFamily="2" charset="77"/>
              </a:rPr>
              <a:t>Μην συγχέετε τη διαχείριση με την ηγεσία </a:t>
            </a:r>
          </a:p>
          <a:p>
            <a:pPr>
              <a:lnSpc>
                <a:spcPts val="2200"/>
              </a:lnSpc>
              <a:spcBef>
                <a:spcPts val="600"/>
              </a:spcBef>
              <a:buClr>
                <a:srgbClr val="EDA13E"/>
              </a:buClr>
            </a:pPr>
            <a:endParaRPr lang="en-GB" sz="2200" b="1" dirty="0">
              <a:solidFill>
                <a:schemeClr val="bg1"/>
              </a:solidFill>
              <a:ea typeface="League Spartan" charset="0"/>
              <a:cs typeface="Poppins" pitchFamily="2" charset="77"/>
            </a:endParaRPr>
          </a:p>
        </p:txBody>
      </p:sp>
      <p:sp>
        <p:nvSpPr>
          <p:cNvPr id="4" name="Rectangle 3">
            <a:extLst>
              <a:ext uri="{FF2B5EF4-FFF2-40B4-BE49-F238E27FC236}">
                <a16:creationId xmlns:a16="http://schemas.microsoft.com/office/drawing/2014/main" id="{B0B42AA0-FC3D-4ACB-BDFA-6F288602A6D2}"/>
              </a:ext>
            </a:extLst>
          </p:cNvPr>
          <p:cNvSpPr/>
          <p:nvPr/>
        </p:nvSpPr>
        <p:spPr>
          <a:xfrm>
            <a:off x="484329" y="1738532"/>
            <a:ext cx="792000" cy="21410"/>
          </a:xfrm>
          <a:prstGeom prst="rect">
            <a:avLst/>
          </a:prstGeom>
          <a:solidFill>
            <a:srgbClr val="F16924"/>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Picture 6" descr="Sea of white umbrellas with one blue one in the crowd">
            <a:extLst>
              <a:ext uri="{FF2B5EF4-FFF2-40B4-BE49-F238E27FC236}">
                <a16:creationId xmlns:a16="http://schemas.microsoft.com/office/drawing/2014/main" id="{58F4C2DE-D7C5-D519-3088-8A7FB863B20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8177" y="136956"/>
            <a:ext cx="4128285" cy="2358444"/>
          </a:xfrm>
          <a:prstGeom prst="rect">
            <a:avLst/>
          </a:prstGeom>
        </p:spPr>
      </p:pic>
    </p:spTree>
    <p:extLst>
      <p:ext uri="{BB962C8B-B14F-4D97-AF65-F5344CB8AC3E}">
        <p14:creationId xmlns:p14="http://schemas.microsoft.com/office/powerpoint/2010/main" val="33673251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7341069-FDFE-0CCB-371B-448FBDCE5AC2}"/>
              </a:ext>
            </a:extLst>
          </p:cNvPr>
          <p:cNvSpPr>
            <a:spLocks noGrp="1"/>
          </p:cNvSpPr>
          <p:nvPr>
            <p:ph type="body" sz="quarter" idx="18"/>
          </p:nvPr>
        </p:nvSpPr>
        <p:spPr>
          <a:xfrm>
            <a:off x="734714" y="1976283"/>
            <a:ext cx="6614992" cy="4341984"/>
          </a:xfrm>
        </p:spPr>
        <p:txBody>
          <a:bodyPr>
            <a:normAutofit/>
          </a:bodyPr>
          <a:lstStyle/>
          <a:p>
            <a:pPr marL="357188" indent="-342900">
              <a:lnSpc>
                <a:spcPts val="2280"/>
              </a:lnSpc>
              <a:spcBef>
                <a:spcPts val="0"/>
              </a:spcBef>
              <a:buClr>
                <a:srgbClr val="F16924"/>
              </a:buClr>
              <a:buFont typeface="Arial" panose="020B0604020202020204" pitchFamily="34" charset="0"/>
              <a:buChar char="•"/>
            </a:pPr>
            <a:r>
              <a:rPr lang="en-US" sz="1700" dirty="0"/>
              <a:t>Οι ρόλοι και οι ευθύνες των ηγετών των επιχειρήσεων αλλάζουν δραματικά σε περιόδους κρίσης.</a:t>
            </a:r>
          </a:p>
          <a:p>
            <a:pPr marL="357188" indent="-342900">
              <a:lnSpc>
                <a:spcPts val="2280"/>
              </a:lnSpc>
              <a:spcBef>
                <a:spcPts val="0"/>
              </a:spcBef>
              <a:buClr>
                <a:srgbClr val="F16924"/>
              </a:buClr>
              <a:buFont typeface="Arial" panose="020B0604020202020204" pitchFamily="34" charset="0"/>
              <a:buChar char="•"/>
            </a:pPr>
            <a:r>
              <a:rPr lang="en-US" sz="1700" dirty="0"/>
              <a:t>Σε κανονικούς καιρούς, οι διευθύνοντες σύμβουλοι και άλλα στελέχη των αναπτυσσόμενων εταιρειών επικεντρώνονται στην προώθηση της καινοτομίας, στην αύξηση των εσόδων και στην απόκτηση μεριδίου αγοράς.</a:t>
            </a:r>
          </a:p>
          <a:p>
            <a:pPr marL="357188" indent="-342900">
              <a:lnSpc>
                <a:spcPts val="2280"/>
              </a:lnSpc>
              <a:spcBef>
                <a:spcPts val="0"/>
              </a:spcBef>
              <a:buClr>
                <a:srgbClr val="F16924"/>
              </a:buClr>
              <a:buFont typeface="Arial" panose="020B0604020202020204" pitchFamily="34" charset="0"/>
              <a:buChar char="•"/>
            </a:pPr>
            <a:r>
              <a:rPr lang="en-US" sz="1700" dirty="0"/>
              <a:t>Σε περιόδους κρίσης, πολλοί από αυτούς τους ίδιους ηγέτες πρέπει να λάβουν γρήγορες αποφάσεις σχετικά με τον έλεγχο του κόστους και τη διατήρηση της ρευστότητας. Ενδέχεται να συναντήσουν απρόβλεπτα εμπόδια - ζητήματα εφοδιαστικής αλυσίδας, ελλείψεις ομάδων και επιχειρησιακές προκλήσεις - που αλλάζουν δραστικά το εύρος των ρόλων και των προτεραιοτήτων τους.</a:t>
            </a:r>
          </a:p>
          <a:p>
            <a:pPr marL="357188" indent="-342900">
              <a:lnSpc>
                <a:spcPts val="2280"/>
              </a:lnSpc>
              <a:spcBef>
                <a:spcPts val="0"/>
              </a:spcBef>
              <a:buClr>
                <a:srgbClr val="F16924"/>
              </a:buClr>
              <a:buFont typeface="Arial" panose="020B0604020202020204" pitchFamily="34" charset="0"/>
              <a:buChar char="•"/>
            </a:pPr>
            <a:endParaRPr lang="en-US" sz="2200" dirty="0"/>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734714" y="539733"/>
            <a:ext cx="5907626" cy="2011738"/>
          </a:xfrm>
        </p:spPr>
        <p:txBody>
          <a:bodyPr>
            <a:normAutofit/>
          </a:bodyPr>
          <a:lstStyle/>
          <a:p>
            <a:r>
              <a:rPr lang="en-GB" dirty="0">
                <a:solidFill>
                  <a:schemeClr val="bg1"/>
                </a:solidFill>
              </a:rPr>
              <a:t>Παρατηρήσεις για την ηγεσία</a:t>
            </a:r>
          </a:p>
        </p:txBody>
      </p:sp>
      <p:sp>
        <p:nvSpPr>
          <p:cNvPr id="8" name="Rectangle 7">
            <a:extLst>
              <a:ext uri="{FF2B5EF4-FFF2-40B4-BE49-F238E27FC236}">
                <a16:creationId xmlns:a16="http://schemas.microsoft.com/office/drawing/2014/main" id="{AA1930F3-B82F-9738-AE10-EADDCB7E0A1C}"/>
              </a:ext>
            </a:extLst>
          </p:cNvPr>
          <p:cNvSpPr/>
          <p:nvPr/>
        </p:nvSpPr>
        <p:spPr>
          <a:xfrm>
            <a:off x="818862" y="175328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5" name="Picture 4">
            <a:extLst>
              <a:ext uri="{FF2B5EF4-FFF2-40B4-BE49-F238E27FC236}">
                <a16:creationId xmlns:a16="http://schemas.microsoft.com/office/drawing/2014/main" id="{4A5E6BF5-5EF2-D307-C94E-28BCFBF95283}"/>
              </a:ext>
            </a:extLst>
          </p:cNvPr>
          <p:cNvPicPr>
            <a:picLocks noChangeAspect="1"/>
          </p:cNvPicPr>
          <p:nvPr/>
        </p:nvPicPr>
        <p:blipFill>
          <a:blip r:embed="rId3"/>
          <a:stretch>
            <a:fillRect/>
          </a:stretch>
        </p:blipFill>
        <p:spPr>
          <a:xfrm>
            <a:off x="7800012" y="2163834"/>
            <a:ext cx="3795497" cy="2530331"/>
          </a:xfrm>
          <a:prstGeom prst="rect">
            <a:avLst/>
          </a:prstGeom>
        </p:spPr>
      </p:pic>
    </p:spTree>
    <p:extLst>
      <p:ext uri="{BB962C8B-B14F-4D97-AF65-F5344CB8AC3E}">
        <p14:creationId xmlns:p14="http://schemas.microsoft.com/office/powerpoint/2010/main" val="2754947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034</TotalTime>
  <Words>7385</Words>
  <Application>Microsoft Office PowerPoint</Application>
  <PresentationFormat>Ευρεία οθόνη</PresentationFormat>
  <Paragraphs>895</Paragraphs>
  <Slides>72</Slides>
  <Notes>22</Notes>
  <HiddenSlides>0</HiddenSlides>
  <MMClips>0</MMClips>
  <ScaleCrop>false</ScaleCrop>
  <HeadingPairs>
    <vt:vector size="8" baseType="variant">
      <vt:variant>
        <vt:lpstr>Γραμματοσειρές που χρησιμοποιούνται</vt:lpstr>
      </vt:variant>
      <vt:variant>
        <vt:i4>14</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72</vt:i4>
      </vt:variant>
    </vt:vector>
  </HeadingPairs>
  <TitlesOfParts>
    <vt:vector size="88" baseType="lpstr">
      <vt:lpstr>Lato Regular</vt:lpstr>
      <vt:lpstr>Arial</vt:lpstr>
      <vt:lpstr>Calibri</vt:lpstr>
      <vt:lpstr>Calibri Light</vt:lpstr>
      <vt:lpstr>Lato Light</vt:lpstr>
      <vt:lpstr>Montserrat</vt:lpstr>
      <vt:lpstr>Montserrat Light</vt:lpstr>
      <vt:lpstr>Montserrat Medium</vt:lpstr>
      <vt:lpstr>Quattrocento Sans</vt:lpstr>
      <vt:lpstr>Roboto</vt:lpstr>
      <vt:lpstr>Roboto Light</vt:lpstr>
      <vt:lpstr>Segoe UI</vt:lpstr>
      <vt:lpstr>Times New Roman</vt:lpstr>
      <vt:lpstr>Wingdings</vt:lpstr>
      <vt:lpstr>Office Theme</vt:lpstr>
      <vt:lpstr>think-cell Foli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87052918B67347931C24C6F9DA85E44D</cp:keywords>
  <cp:lastModifiedBy>Aliki Anagnosti</cp:lastModifiedBy>
  <cp:revision>347</cp:revision>
  <dcterms:created xsi:type="dcterms:W3CDTF">2020-10-14T13:32:04Z</dcterms:created>
  <dcterms:modified xsi:type="dcterms:W3CDTF">2022-11-16T18:17:47Z</dcterms:modified>
</cp:coreProperties>
</file>